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ags/tag104.xml" ContentType="application/vnd.openxmlformats-officedocument.presentationml.tags+xml"/>
  <Override PartName="/ppt/notesSlides/notesSlide2.xml" ContentType="application/vnd.openxmlformats-officedocument.presentationml.notesSlide+xml"/>
  <Override PartName="/ppt/tags/tag105.xml" ContentType="application/vnd.openxmlformats-officedocument.presentationml.tags+xml"/>
  <Override PartName="/ppt/notesSlides/notesSlide3.xml" ContentType="application/vnd.openxmlformats-officedocument.presentationml.notesSlide+xml"/>
  <Override PartName="/ppt/tags/tag106.xml" ContentType="application/vnd.openxmlformats-officedocument.presentationml.tags+xml"/>
  <Override PartName="/ppt/notesSlides/notesSlide4.xml" ContentType="application/vnd.openxmlformats-officedocument.presentationml.notesSlide+xml"/>
  <Override PartName="/ppt/tags/tag107.xml" ContentType="application/vnd.openxmlformats-officedocument.presentationml.tags+xml"/>
  <Override PartName="/ppt/notesSlides/notesSlide5.xml" ContentType="application/vnd.openxmlformats-officedocument.presentationml.notesSlide+xml"/>
  <Override PartName="/ppt/tags/tag108.xml" ContentType="application/vnd.openxmlformats-officedocument.presentationml.tags+xml"/>
  <Override PartName="/ppt/notesSlides/notesSlide6.xml" ContentType="application/vnd.openxmlformats-officedocument.presentationml.notesSlide+xml"/>
  <Override PartName="/ppt/tags/tag109.xml" ContentType="application/vnd.openxmlformats-officedocument.presentationml.tags+xml"/>
  <Override PartName="/ppt/notesSlides/notesSlide7.xml" ContentType="application/vnd.openxmlformats-officedocument.presentationml.notesSlide+xml"/>
  <Override PartName="/ppt/tags/tag110.xml" ContentType="application/vnd.openxmlformats-officedocument.presentationml.tags+xml"/>
  <Override PartName="/ppt/notesSlides/notesSlide8.xml" ContentType="application/vnd.openxmlformats-officedocument.presentationml.notesSlide+xml"/>
  <Override PartName="/ppt/tags/tag111.xml" ContentType="application/vnd.openxmlformats-officedocument.presentationml.tags+xml"/>
  <Override PartName="/ppt/notesSlides/notesSlide9.xml" ContentType="application/vnd.openxmlformats-officedocument.presentationml.notesSlide+xml"/>
  <Override PartName="/ppt/tags/tag112.xml" ContentType="application/vnd.openxmlformats-officedocument.presentationml.tags+xml"/>
  <Override PartName="/ppt/notesSlides/notesSlide10.xml" ContentType="application/vnd.openxmlformats-officedocument.presentationml.notesSlide+xml"/>
  <Override PartName="/ppt/tags/tag113.xml" ContentType="application/vnd.openxmlformats-officedocument.presentationml.tags+xml"/>
  <Override PartName="/ppt/notesSlides/notesSlide11.xml" ContentType="application/vnd.openxmlformats-officedocument.presentationml.notesSlide+xml"/>
  <Override PartName="/ppt/tags/tag114.xml" ContentType="application/vnd.openxmlformats-officedocument.presentationml.tags+xml"/>
  <Override PartName="/ppt/notesSlides/notesSlide12.xml" ContentType="application/vnd.openxmlformats-officedocument.presentationml.notesSlide+xml"/>
  <Override PartName="/ppt/tags/tag115.xml" ContentType="application/vnd.openxmlformats-officedocument.presentationml.tags+xml"/>
  <Override PartName="/ppt/notesSlides/notesSlide13.xml" ContentType="application/vnd.openxmlformats-officedocument.presentationml.notesSlide+xml"/>
  <Override PartName="/ppt/tags/tag116.xml" ContentType="application/vnd.openxmlformats-officedocument.presentationml.tags+xml"/>
  <Override PartName="/ppt/notesSlides/notesSlide14.xml" ContentType="application/vnd.openxmlformats-officedocument.presentationml.notesSlide+xml"/>
  <Override PartName="/ppt/tags/tag117.xml" ContentType="application/vnd.openxmlformats-officedocument.presentationml.tags+xml"/>
  <Override PartName="/ppt/notesSlides/notesSlide15.xml" ContentType="application/vnd.openxmlformats-officedocument.presentationml.notesSlide+xml"/>
  <Override PartName="/ppt/tags/tag118.xml" ContentType="application/vnd.openxmlformats-officedocument.presentationml.tags+xml"/>
  <Override PartName="/ppt/notesSlides/notesSlide16.xml" ContentType="application/vnd.openxmlformats-officedocument.presentationml.notesSlide+xml"/>
  <Override PartName="/ppt/tags/tag119.xml" ContentType="application/vnd.openxmlformats-officedocument.presentationml.tags+xml"/>
  <Override PartName="/ppt/notesSlides/notesSlide17.xml" ContentType="application/vnd.openxmlformats-officedocument.presentationml.notesSlide+xml"/>
  <Override PartName="/ppt/tags/tag120.xml" ContentType="application/vnd.openxmlformats-officedocument.presentationml.tags+xml"/>
  <Override PartName="/ppt/notesSlides/notesSlide18.xml" ContentType="application/vnd.openxmlformats-officedocument.presentationml.notesSlide+xml"/>
  <Override PartName="/ppt/tags/tag121.xml" ContentType="application/vnd.openxmlformats-officedocument.presentationml.tags+xml"/>
  <Override PartName="/ppt/notesSlides/notesSlide1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1.xml" ContentType="application/vnd.openxmlformats-officedocument.presentationml.notesSlide+xml"/>
  <Override PartName="/ppt/tags/tag133.xml" ContentType="application/vnd.openxmlformats-officedocument.presentationml.tags+xml"/>
  <Override PartName="/ppt/notesSlides/notesSlide22.xml" ContentType="application/vnd.openxmlformats-officedocument.presentationml.notesSlide+xml"/>
  <Override PartName="/ppt/tags/tag134.xml" ContentType="application/vnd.openxmlformats-officedocument.presentationml.tags+xml"/>
  <Override PartName="/ppt/notesSlides/notesSlide23.xml" ContentType="application/vnd.openxmlformats-officedocument.presentationml.notesSlide+xml"/>
  <Override PartName="/ppt/tags/tag135.xml" ContentType="application/vnd.openxmlformats-officedocument.presentationml.tags+xml"/>
  <Override PartName="/ppt/notesSlides/notesSlide24.xml" ContentType="application/vnd.openxmlformats-officedocument.presentationml.notesSlide+xml"/>
  <Override PartName="/ppt/tags/tag136.xml" ContentType="application/vnd.openxmlformats-officedocument.presentationml.tags+xml"/>
  <Override PartName="/ppt/notesSlides/notesSlide25.xml" ContentType="application/vnd.openxmlformats-officedocument.presentationml.notesSlide+xml"/>
  <Override PartName="/ppt/tags/tag137.xml" ContentType="application/vnd.openxmlformats-officedocument.presentationml.tags+xml"/>
  <Override PartName="/ppt/notesSlides/notesSlide26.xml" ContentType="application/vnd.openxmlformats-officedocument.presentationml.notesSlide+xml"/>
  <Override PartName="/ppt/tags/tag138.xml" ContentType="application/vnd.openxmlformats-officedocument.presentationml.tags+xml"/>
  <Override PartName="/ppt/notesSlides/notesSlide27.xml" ContentType="application/vnd.openxmlformats-officedocument.presentationml.notesSlide+xml"/>
  <Override PartName="/ppt/tags/tag139.xml" ContentType="application/vnd.openxmlformats-officedocument.presentationml.tags+xml"/>
  <Override PartName="/ppt/notesSlides/notesSlide28.xml" ContentType="application/vnd.openxmlformats-officedocument.presentationml.notesSlide+xml"/>
  <Override PartName="/ppt/tags/tag140.xml" ContentType="application/vnd.openxmlformats-officedocument.presentationml.tags+xml"/>
  <Override PartName="/ppt/notesSlides/notesSlide29.xml" ContentType="application/vnd.openxmlformats-officedocument.presentationml.notesSlide+xml"/>
  <Override PartName="/ppt/tags/tag141.xml" ContentType="application/vnd.openxmlformats-officedocument.presentationml.tags+xml"/>
  <Override PartName="/ppt/notesSlides/notesSlide30.xml" ContentType="application/vnd.openxmlformats-officedocument.presentationml.notesSlide+xml"/>
  <Override PartName="/ppt/tags/tag142.xml" ContentType="application/vnd.openxmlformats-officedocument.presentationml.tags+xml"/>
  <Override PartName="/ppt/notesSlides/notesSlide31.xml" ContentType="application/vnd.openxmlformats-officedocument.presentationml.notesSlide+xml"/>
  <Override PartName="/ppt/tags/tag143.xml" ContentType="application/vnd.openxmlformats-officedocument.presentationml.tags+xml"/>
  <Override PartName="/ppt/notesSlides/notesSlide32.xml" ContentType="application/vnd.openxmlformats-officedocument.presentationml.notesSlide+xml"/>
  <Override PartName="/ppt/charts/chart1.xml" ContentType="application/vnd.openxmlformats-officedocument.drawingml.chart+xml"/>
  <Override PartName="/ppt/tags/tag144.xml" ContentType="application/vnd.openxmlformats-officedocument.presentationml.tags+xml"/>
  <Override PartName="/ppt/notesSlides/notesSlide33.xml" ContentType="application/vnd.openxmlformats-officedocument.presentationml.notesSlide+xml"/>
  <Override PartName="/ppt/charts/chart2.xml" ContentType="application/vnd.openxmlformats-officedocument.drawingml.chart+xml"/>
  <Override PartName="/ppt/tags/tag145.xml" ContentType="application/vnd.openxmlformats-officedocument.presentationml.tags+xml"/>
  <Override PartName="/ppt/notesSlides/notesSlide34.xml" ContentType="application/vnd.openxmlformats-officedocument.presentationml.notesSlide+xml"/>
  <Override PartName="/ppt/tags/tag146.xml" ContentType="application/vnd.openxmlformats-officedocument.presentationml.tags+xml"/>
  <Override PartName="/ppt/notesSlides/notesSlide35.xml" ContentType="application/vnd.openxmlformats-officedocument.presentationml.notesSlide+xml"/>
  <Override PartName="/ppt/tags/tag147.xml" ContentType="application/vnd.openxmlformats-officedocument.presentationml.tags+xml"/>
  <Override PartName="/ppt/notesSlides/notesSlide36.xml" ContentType="application/vnd.openxmlformats-officedocument.presentationml.notesSlide+xml"/>
  <Override PartName="/ppt/tags/tag148.xml" ContentType="application/vnd.openxmlformats-officedocument.presentationml.tags+xml"/>
  <Override PartName="/ppt/notesSlides/notesSlide37.xml" ContentType="application/vnd.openxmlformats-officedocument.presentationml.notesSlide+xml"/>
  <Override PartName="/ppt/tags/tag149.xml" ContentType="application/vnd.openxmlformats-officedocument.presentationml.tags+xml"/>
  <Override PartName="/ppt/notesSlides/notesSlide38.xml" ContentType="application/vnd.openxmlformats-officedocument.presentationml.notesSlide+xml"/>
  <Override PartName="/ppt/tags/tag150.xml" ContentType="application/vnd.openxmlformats-officedocument.presentationml.tags+xml"/>
  <Override PartName="/ppt/notesSlides/notesSlide39.xml" ContentType="application/vnd.openxmlformats-officedocument.presentationml.notesSlide+xml"/>
  <Override PartName="/ppt/tags/tag151.xml" ContentType="application/vnd.openxmlformats-officedocument.presentationml.tags+xml"/>
  <Override PartName="/ppt/notesSlides/notesSlide40.xml" ContentType="application/vnd.openxmlformats-officedocument.presentationml.notesSlide+xml"/>
  <Override PartName="/ppt/tags/tag152.xml" ContentType="application/vnd.openxmlformats-officedocument.presentationml.tags+xml"/>
  <Override PartName="/ppt/notesSlides/notesSlide41.xml" ContentType="application/vnd.openxmlformats-officedocument.presentationml.notesSlide+xml"/>
  <Override PartName="/ppt/tags/tag153.xml" ContentType="application/vnd.openxmlformats-officedocument.presentationml.tags+xml"/>
  <Override PartName="/ppt/notesSlides/notesSlide42.xml" ContentType="application/vnd.openxmlformats-officedocument.presentationml.notesSlide+xml"/>
  <Override PartName="/ppt/tags/tag154.xml" ContentType="application/vnd.openxmlformats-officedocument.presentationml.tags+xml"/>
  <Override PartName="/ppt/notesSlides/notesSlide43.xml" ContentType="application/vnd.openxmlformats-officedocument.presentationml.notesSlide+xml"/>
  <Override PartName="/ppt/tags/tag155.xml" ContentType="application/vnd.openxmlformats-officedocument.presentationml.tags+xml"/>
  <Override PartName="/ppt/notesSlides/notesSlide44.xml" ContentType="application/vnd.openxmlformats-officedocument.presentationml.notesSlide+xml"/>
  <Override PartName="/ppt/tags/tag156.xml" ContentType="application/vnd.openxmlformats-officedocument.presentationml.tags+xml"/>
  <Override PartName="/ppt/notesSlides/notesSlide45.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6.xml" ContentType="application/vnd.openxmlformats-officedocument.presentationml.notesSlide+xml"/>
  <Override PartName="/ppt/tags/tag168.xml" ContentType="application/vnd.openxmlformats-officedocument.presentationml.tags+xml"/>
  <Override PartName="/ppt/notesSlides/notesSlide47.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48.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49.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50.xml" ContentType="application/vnd.openxmlformats-officedocument.presentationml.notesSlide+xml"/>
  <Override PartName="/ppt/tags/tag191.xml" ContentType="application/vnd.openxmlformats-officedocument.presentationml.tags+xml"/>
  <Override PartName="/ppt/notesSlides/notesSlide5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52.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5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72"/>
  </p:notesMasterIdLst>
  <p:handoutMasterIdLst>
    <p:handoutMasterId r:id="rId73"/>
  </p:handoutMasterIdLst>
  <p:sldIdLst>
    <p:sldId id="256" r:id="rId13"/>
    <p:sldId id="2157" r:id="rId14"/>
    <p:sldId id="2164" r:id="rId15"/>
    <p:sldId id="2034" r:id="rId16"/>
    <p:sldId id="1929" r:id="rId17"/>
    <p:sldId id="1931" r:id="rId18"/>
    <p:sldId id="2165" r:id="rId19"/>
    <p:sldId id="2151" r:id="rId20"/>
    <p:sldId id="2152" r:id="rId21"/>
    <p:sldId id="2158" r:id="rId22"/>
    <p:sldId id="2159" r:id="rId23"/>
    <p:sldId id="2166" r:id="rId24"/>
    <p:sldId id="1925" r:id="rId25"/>
    <p:sldId id="2035" r:id="rId26"/>
    <p:sldId id="1935" r:id="rId27"/>
    <p:sldId id="2167" r:id="rId28"/>
    <p:sldId id="1938" r:id="rId29"/>
    <p:sldId id="1939" r:id="rId30"/>
    <p:sldId id="1940" r:id="rId31"/>
    <p:sldId id="1941" r:id="rId32"/>
    <p:sldId id="1942" r:id="rId33"/>
    <p:sldId id="1943" r:id="rId34"/>
    <p:sldId id="2177" r:id="rId35"/>
    <p:sldId id="1946" r:id="rId36"/>
    <p:sldId id="1947" r:id="rId37"/>
    <p:sldId id="1948" r:id="rId38"/>
    <p:sldId id="1949" r:id="rId39"/>
    <p:sldId id="1950" r:id="rId40"/>
    <p:sldId id="1951" r:id="rId41"/>
    <p:sldId id="2168" r:id="rId42"/>
    <p:sldId id="1953" r:id="rId43"/>
    <p:sldId id="1954" r:id="rId44"/>
    <p:sldId id="1956" r:id="rId45"/>
    <p:sldId id="2169" r:id="rId46"/>
    <p:sldId id="1959" r:id="rId47"/>
    <p:sldId id="2037" r:id="rId48"/>
    <p:sldId id="1963" r:id="rId49"/>
    <p:sldId id="1964" r:id="rId50"/>
    <p:sldId id="2160" r:id="rId51"/>
    <p:sldId id="2161" r:id="rId52"/>
    <p:sldId id="2162" r:id="rId53"/>
    <p:sldId id="2163" r:id="rId54"/>
    <p:sldId id="1969" r:id="rId55"/>
    <p:sldId id="2170" r:id="rId56"/>
    <p:sldId id="2172" r:id="rId57"/>
    <p:sldId id="1580" r:id="rId58"/>
    <p:sldId id="2173" r:id="rId59"/>
    <p:sldId id="2174" r:id="rId60"/>
    <p:sldId id="2175" r:id="rId61"/>
    <p:sldId id="2176" r:id="rId62"/>
    <p:sldId id="2171" r:id="rId63"/>
    <p:sldId id="1971" r:id="rId64"/>
    <p:sldId id="1792" r:id="rId65"/>
    <p:sldId id="1796" r:id="rId66"/>
    <p:sldId id="1972" r:id="rId67"/>
    <p:sldId id="2150" r:id="rId68"/>
    <p:sldId id="2038" r:id="rId69"/>
    <p:sldId id="2147" r:id="rId70"/>
    <p:sldId id="2149" r:id="rId71"/>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EFCE"/>
    <a:srgbClr val="EBF6D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41" autoAdjust="0"/>
    <p:restoredTop sz="94987" autoAdjust="0"/>
  </p:normalViewPr>
  <p:slideViewPr>
    <p:cSldViewPr snapToGrid="0">
      <p:cViewPr varScale="1">
        <p:scale>
          <a:sx n="104" d="100"/>
          <a:sy n="104" d="100"/>
        </p:scale>
        <p:origin x="660" y="11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668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16"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notesMaster" Target="notesMasters/notesMaster1.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2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7B420E91-E397-43C6-BD4D-752A9E56F6E3}"/>
    <pc:docChg chg="custSel addSld modSld">
      <pc:chgData name="Aurelien Domont" userId="6da7715ce44349b3" providerId="LiveId" clId="{7B420E91-E397-43C6-BD4D-752A9E56F6E3}" dt="2021-05-05T05:39:10.566" v="586" actId="313"/>
      <pc:docMkLst>
        <pc:docMk/>
      </pc:docMkLst>
      <pc:sldChg chg="modSp mod">
        <pc:chgData name="Aurelien Domont" userId="6da7715ce44349b3" providerId="LiveId" clId="{7B420E91-E397-43C6-BD4D-752A9E56F6E3}" dt="2021-05-05T05:26:32.019" v="20" actId="20577"/>
        <pc:sldMkLst>
          <pc:docMk/>
          <pc:sldMk cId="1659127470" sldId="1924"/>
        </pc:sldMkLst>
        <pc:spChg chg="mod">
          <ac:chgData name="Aurelien Domont" userId="6da7715ce44349b3" providerId="LiveId" clId="{7B420E91-E397-43C6-BD4D-752A9E56F6E3}" dt="2021-05-05T05:26:32.019" v="20" actId="20577"/>
          <ac:spMkLst>
            <pc:docMk/>
            <pc:sldMk cId="1659127470" sldId="1924"/>
            <ac:spMk id="34" creationId="{E2BDE0B8-90AF-4DE7-A71B-FE78ADE30B55}"/>
          </ac:spMkLst>
        </pc:spChg>
      </pc:sldChg>
      <pc:sldChg chg="modSp mod">
        <pc:chgData name="Aurelien Domont" userId="6da7715ce44349b3" providerId="LiveId" clId="{7B420E91-E397-43C6-BD4D-752A9E56F6E3}" dt="2021-05-05T05:39:10.566" v="586" actId="313"/>
        <pc:sldMkLst>
          <pc:docMk/>
          <pc:sldMk cId="2014281171" sldId="2150"/>
        </pc:sldMkLst>
        <pc:spChg chg="mod">
          <ac:chgData name="Aurelien Domont" userId="6da7715ce44349b3" providerId="LiveId" clId="{7B420E91-E397-43C6-BD4D-752A9E56F6E3}" dt="2021-05-05T05:39:10.566" v="586" actId="313"/>
          <ac:spMkLst>
            <pc:docMk/>
            <pc:sldMk cId="2014281171" sldId="2150"/>
            <ac:spMk id="16" creationId="{6C2BB713-9637-4B9B-938F-E9768876782A}"/>
          </ac:spMkLst>
        </pc:spChg>
      </pc:sldChg>
      <pc:sldChg chg="addSp delSp modSp add mod">
        <pc:chgData name="Aurelien Domont" userId="6da7715ce44349b3" providerId="LiveId" clId="{7B420E91-E397-43C6-BD4D-752A9E56F6E3}" dt="2021-05-05T05:37:37.239" v="523" actId="113"/>
        <pc:sldMkLst>
          <pc:docMk/>
          <pc:sldMk cId="3025566573" sldId="2151"/>
        </pc:sldMkLst>
        <pc:spChg chg="mod">
          <ac:chgData name="Aurelien Domont" userId="6da7715ce44349b3" providerId="LiveId" clId="{7B420E91-E397-43C6-BD4D-752A9E56F6E3}" dt="2021-05-05T05:29:38.232" v="127" actId="20577"/>
          <ac:spMkLst>
            <pc:docMk/>
            <pc:sldMk cId="3025566573" sldId="2151"/>
            <ac:spMk id="16" creationId="{6C2BB713-9637-4B9B-938F-E9768876782A}"/>
          </ac:spMkLst>
        </pc:spChg>
        <pc:spChg chg="del">
          <ac:chgData name="Aurelien Domont" userId="6da7715ce44349b3" providerId="LiveId" clId="{7B420E91-E397-43C6-BD4D-752A9E56F6E3}" dt="2021-05-05T05:28:14.243" v="124" actId="478"/>
          <ac:spMkLst>
            <pc:docMk/>
            <pc:sldMk cId="3025566573" sldId="2151"/>
            <ac:spMk id="21" creationId="{11C22A44-2FD5-46A7-A30E-F5F79C9EAFAE}"/>
          </ac:spMkLst>
        </pc:spChg>
        <pc:spChg chg="del">
          <ac:chgData name="Aurelien Domont" userId="6da7715ce44349b3" providerId="LiveId" clId="{7B420E91-E397-43C6-BD4D-752A9E56F6E3}" dt="2021-05-05T05:28:14.243" v="124" actId="478"/>
          <ac:spMkLst>
            <pc:docMk/>
            <pc:sldMk cId="3025566573" sldId="2151"/>
            <ac:spMk id="22" creationId="{EE78CAB5-920F-4474-9507-223D946A1013}"/>
          </ac:spMkLst>
        </pc:spChg>
        <pc:spChg chg="del">
          <ac:chgData name="Aurelien Domont" userId="6da7715ce44349b3" providerId="LiveId" clId="{7B420E91-E397-43C6-BD4D-752A9E56F6E3}" dt="2021-05-05T05:28:14.243" v="124" actId="478"/>
          <ac:spMkLst>
            <pc:docMk/>
            <pc:sldMk cId="3025566573" sldId="2151"/>
            <ac:spMk id="23" creationId="{74E50F0A-59F3-4101-A004-5664A1AAF7E8}"/>
          </ac:spMkLst>
        </pc:spChg>
        <pc:spChg chg="del">
          <ac:chgData name="Aurelien Domont" userId="6da7715ce44349b3" providerId="LiveId" clId="{7B420E91-E397-43C6-BD4D-752A9E56F6E3}" dt="2021-05-05T05:28:14.243" v="124" actId="478"/>
          <ac:spMkLst>
            <pc:docMk/>
            <pc:sldMk cId="3025566573" sldId="2151"/>
            <ac:spMk id="24" creationId="{E8E79278-3E47-491E-80C4-2745363AB20D}"/>
          </ac:spMkLst>
        </pc:spChg>
        <pc:spChg chg="add mod">
          <ac:chgData name="Aurelien Domont" userId="6da7715ce44349b3" providerId="LiveId" clId="{7B420E91-E397-43C6-BD4D-752A9E56F6E3}" dt="2021-05-05T05:37:37.239" v="523" actId="113"/>
          <ac:spMkLst>
            <pc:docMk/>
            <pc:sldMk cId="3025566573" sldId="2151"/>
            <ac:spMk id="25" creationId="{F53DB822-D6F4-4387-B810-2DDF193FB7A3}"/>
          </ac:spMkLst>
        </pc:spChg>
        <pc:spChg chg="del">
          <ac:chgData name="Aurelien Domont" userId="6da7715ce44349b3" providerId="LiveId" clId="{7B420E91-E397-43C6-BD4D-752A9E56F6E3}" dt="2021-05-05T05:28:14.243" v="124" actId="478"/>
          <ac:spMkLst>
            <pc:docMk/>
            <pc:sldMk cId="3025566573" sldId="2151"/>
            <ac:spMk id="34" creationId="{8E5C4676-310D-4A07-8359-C78BAE8BAEE2}"/>
          </ac:spMkLst>
        </pc:spChg>
        <pc:spChg chg="del">
          <ac:chgData name="Aurelien Domont" userId="6da7715ce44349b3" providerId="LiveId" clId="{7B420E91-E397-43C6-BD4D-752A9E56F6E3}" dt="2021-05-05T05:28:14.243" v="124" actId="478"/>
          <ac:spMkLst>
            <pc:docMk/>
            <pc:sldMk cId="3025566573" sldId="2151"/>
            <ac:spMk id="35" creationId="{AE266B61-A26F-4864-A119-B73D8D3EEFE3}"/>
          </ac:spMkLst>
        </pc:spChg>
        <pc:spChg chg="del">
          <ac:chgData name="Aurelien Domont" userId="6da7715ce44349b3" providerId="LiveId" clId="{7B420E91-E397-43C6-BD4D-752A9E56F6E3}" dt="2021-05-05T05:28:14.243" v="124" actId="478"/>
          <ac:spMkLst>
            <pc:docMk/>
            <pc:sldMk cId="3025566573" sldId="2151"/>
            <ac:spMk id="36" creationId="{347DF893-08CF-4A42-82A7-151682669AE2}"/>
          </ac:spMkLst>
        </pc:spChg>
        <pc:spChg chg="del">
          <ac:chgData name="Aurelien Domont" userId="6da7715ce44349b3" providerId="LiveId" clId="{7B420E91-E397-43C6-BD4D-752A9E56F6E3}" dt="2021-05-05T05:28:14.243" v="124" actId="478"/>
          <ac:spMkLst>
            <pc:docMk/>
            <pc:sldMk cId="3025566573" sldId="2151"/>
            <ac:spMk id="37" creationId="{473EDCDD-9075-40AB-A47F-8FF455A2E444}"/>
          </ac:spMkLst>
        </pc:spChg>
        <pc:spChg chg="del">
          <ac:chgData name="Aurelien Domont" userId="6da7715ce44349b3" providerId="LiveId" clId="{7B420E91-E397-43C6-BD4D-752A9E56F6E3}" dt="2021-05-05T05:28:14.243" v="124" actId="478"/>
          <ac:spMkLst>
            <pc:docMk/>
            <pc:sldMk cId="3025566573" sldId="2151"/>
            <ac:spMk id="38" creationId="{E4C80A43-3460-447B-A4B7-C97F19954BE7}"/>
          </ac:spMkLst>
        </pc:spChg>
        <pc:spChg chg="del">
          <ac:chgData name="Aurelien Domont" userId="6da7715ce44349b3" providerId="LiveId" clId="{7B420E91-E397-43C6-BD4D-752A9E56F6E3}" dt="2021-05-05T05:28:14.243" v="124" actId="478"/>
          <ac:spMkLst>
            <pc:docMk/>
            <pc:sldMk cId="3025566573" sldId="2151"/>
            <ac:spMk id="39" creationId="{25B98639-8371-4BB9-9FA0-6591943AEA62}"/>
          </ac:spMkLst>
        </pc:spChg>
        <pc:spChg chg="del">
          <ac:chgData name="Aurelien Domont" userId="6da7715ce44349b3" providerId="LiveId" clId="{7B420E91-E397-43C6-BD4D-752A9E56F6E3}" dt="2021-05-05T05:28:14.243" v="124" actId="478"/>
          <ac:spMkLst>
            <pc:docMk/>
            <pc:sldMk cId="3025566573" sldId="2151"/>
            <ac:spMk id="40" creationId="{D16ABD8B-61B2-4AE4-A271-20712EAC6EE5}"/>
          </ac:spMkLst>
        </pc:spChg>
        <pc:spChg chg="del">
          <ac:chgData name="Aurelien Domont" userId="6da7715ce44349b3" providerId="LiveId" clId="{7B420E91-E397-43C6-BD4D-752A9E56F6E3}" dt="2021-05-05T05:28:14.243" v="124" actId="478"/>
          <ac:spMkLst>
            <pc:docMk/>
            <pc:sldMk cId="3025566573" sldId="2151"/>
            <ac:spMk id="41" creationId="{60047BC4-494E-465F-BB2C-37A58D27A895}"/>
          </ac:spMkLst>
        </pc:spChg>
        <pc:spChg chg="del">
          <ac:chgData name="Aurelien Domont" userId="6da7715ce44349b3" providerId="LiveId" clId="{7B420E91-E397-43C6-BD4D-752A9E56F6E3}" dt="2021-05-05T05:28:14.243" v="124" actId="478"/>
          <ac:spMkLst>
            <pc:docMk/>
            <pc:sldMk cId="3025566573" sldId="2151"/>
            <ac:spMk id="42" creationId="{EEFEF7C6-2458-41A3-A611-F735F23959C8}"/>
          </ac:spMkLst>
        </pc:spChg>
        <pc:spChg chg="del">
          <ac:chgData name="Aurelien Domont" userId="6da7715ce44349b3" providerId="LiveId" clId="{7B420E91-E397-43C6-BD4D-752A9E56F6E3}" dt="2021-05-05T05:28:14.243" v="124" actId="478"/>
          <ac:spMkLst>
            <pc:docMk/>
            <pc:sldMk cId="3025566573" sldId="2151"/>
            <ac:spMk id="43" creationId="{067232F5-DCB9-418C-AF5E-20A9ADF37A95}"/>
          </ac:spMkLst>
        </pc:spChg>
        <pc:spChg chg="del">
          <ac:chgData name="Aurelien Domont" userId="6da7715ce44349b3" providerId="LiveId" clId="{7B420E91-E397-43C6-BD4D-752A9E56F6E3}" dt="2021-05-05T05:28:14.243" v="124" actId="478"/>
          <ac:spMkLst>
            <pc:docMk/>
            <pc:sldMk cId="3025566573" sldId="2151"/>
            <ac:spMk id="44" creationId="{249D5A4D-C375-446B-876D-B421B4AA27A2}"/>
          </ac:spMkLst>
        </pc:spChg>
        <pc:spChg chg="del">
          <ac:chgData name="Aurelien Domont" userId="6da7715ce44349b3" providerId="LiveId" clId="{7B420E91-E397-43C6-BD4D-752A9E56F6E3}" dt="2021-05-05T05:28:14.243" v="124" actId="478"/>
          <ac:spMkLst>
            <pc:docMk/>
            <pc:sldMk cId="3025566573" sldId="2151"/>
            <ac:spMk id="45" creationId="{3C667C76-9848-4E10-980B-6994068638EA}"/>
          </ac:spMkLst>
        </pc:spChg>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89AD283F-29C6-4E2D-96DD-0D15A9AC49C4}"/>
    <pc:docChg chg="undo custSel addSld modSld">
      <pc:chgData name="Aurelien Domont" userId="6da7715ce44349b3" providerId="LiveId" clId="{89AD283F-29C6-4E2D-96DD-0D15A9AC49C4}" dt="2021-05-13T06:23:46.999" v="825" actId="478"/>
      <pc:docMkLst>
        <pc:docMk/>
      </pc:docMkLst>
      <pc:sldChg chg="addSp delSp modSp mod">
        <pc:chgData name="Aurelien Domont" userId="6da7715ce44349b3" providerId="LiveId" clId="{89AD283F-29C6-4E2D-96DD-0D15A9AC49C4}" dt="2021-05-13T05:39:18.022" v="823"/>
        <pc:sldMkLst>
          <pc:docMk/>
          <pc:sldMk cId="3131901387" sldId="256"/>
        </pc:sldMkLst>
        <pc:spChg chg="del">
          <ac:chgData name="Aurelien Domont" userId="6da7715ce44349b3" providerId="LiveId" clId="{89AD283F-29C6-4E2D-96DD-0D15A9AC49C4}" dt="2021-05-13T05:39:05.169" v="819" actId="478"/>
          <ac:spMkLst>
            <pc:docMk/>
            <pc:sldMk cId="3131901387" sldId="256"/>
            <ac:spMk id="3" creationId="{D781CD62-85AB-400E-A66C-9594AAD807B4}"/>
          </ac:spMkLst>
        </pc:spChg>
        <pc:spChg chg="add del mod">
          <ac:chgData name="Aurelien Domont" userId="6da7715ce44349b3" providerId="LiveId" clId="{89AD283F-29C6-4E2D-96DD-0D15A9AC49C4}" dt="2021-05-13T05:39:11.315" v="822" actId="478"/>
          <ac:spMkLst>
            <pc:docMk/>
            <pc:sldMk cId="3131901387" sldId="256"/>
            <ac:spMk id="14" creationId="{84ADFE9C-9E35-4CD9-8F61-61D26DA71DA4}"/>
          </ac:spMkLst>
        </pc:spChg>
        <pc:spChg chg="add del mod">
          <ac:chgData name="Aurelien Domont" userId="6da7715ce44349b3" providerId="LiveId" clId="{89AD283F-29C6-4E2D-96DD-0D15A9AC49C4}" dt="2021-05-13T05:39:08.980" v="821" actId="478"/>
          <ac:spMkLst>
            <pc:docMk/>
            <pc:sldMk cId="3131901387" sldId="256"/>
            <ac:spMk id="16" creationId="{5D7E4E6D-6DB6-4E99-B037-96ECF862B9DD}"/>
          </ac:spMkLst>
        </pc:spChg>
        <pc:spChg chg="add mod">
          <ac:chgData name="Aurelien Domont" userId="6da7715ce44349b3" providerId="LiveId" clId="{89AD283F-29C6-4E2D-96DD-0D15A9AC49C4}" dt="2021-05-13T05:39:18.022" v="823"/>
          <ac:spMkLst>
            <pc:docMk/>
            <pc:sldMk cId="3131901387" sldId="256"/>
            <ac:spMk id="17" creationId="{5EBF9E97-9708-4254-ACAD-0CF760EC42C9}"/>
          </ac:spMkLst>
        </pc:spChg>
        <pc:picChg chg="del">
          <ac:chgData name="Aurelien Domont" userId="6da7715ce44349b3" providerId="LiveId" clId="{89AD283F-29C6-4E2D-96DD-0D15A9AC49C4}" dt="2021-05-13T05:39:05.169" v="819" actId="478"/>
          <ac:picMkLst>
            <pc:docMk/>
            <pc:sldMk cId="3131901387" sldId="256"/>
            <ac:picMk id="7" creationId="{56F6D9FE-2BD8-43FA-8517-544E7B92AA1A}"/>
          </ac:picMkLst>
        </pc:picChg>
        <pc:picChg chg="del">
          <ac:chgData name="Aurelien Domont" userId="6da7715ce44349b3" providerId="LiveId" clId="{89AD283F-29C6-4E2D-96DD-0D15A9AC49C4}" dt="2021-05-13T05:39:05.169" v="819" actId="478"/>
          <ac:picMkLst>
            <pc:docMk/>
            <pc:sldMk cId="3131901387" sldId="256"/>
            <ac:picMk id="13" creationId="{6E38BFE1-56A4-4E55-BEE6-88950EB7A801}"/>
          </ac:picMkLst>
        </pc:picChg>
        <pc:picChg chg="add mod">
          <ac:chgData name="Aurelien Domont" userId="6da7715ce44349b3" providerId="LiveId" clId="{89AD283F-29C6-4E2D-96DD-0D15A9AC49C4}" dt="2021-05-13T05:39:05.415" v="820"/>
          <ac:picMkLst>
            <pc:docMk/>
            <pc:sldMk cId="3131901387" sldId="256"/>
            <ac:picMk id="15" creationId="{F1596133-1C2A-4BDF-B598-990C3EF2BC5A}"/>
          </ac:picMkLst>
        </pc:picChg>
      </pc:sldChg>
      <pc:sldChg chg="add">
        <pc:chgData name="Aurelien Domont" userId="6da7715ce44349b3" providerId="LiveId" clId="{89AD283F-29C6-4E2D-96DD-0D15A9AC49C4}" dt="2021-05-13T04:35:26.296" v="509"/>
        <pc:sldMkLst>
          <pc:docMk/>
          <pc:sldMk cId="4026207615" sldId="1580"/>
        </pc:sldMkLst>
      </pc:sldChg>
      <pc:sldChg chg="modSp mod">
        <pc:chgData name="Aurelien Domont" userId="6da7715ce44349b3" providerId="LiveId" clId="{89AD283F-29C6-4E2D-96DD-0D15A9AC49C4}" dt="2021-05-13T05:09:50.093" v="771" actId="20577"/>
        <pc:sldMkLst>
          <pc:docMk/>
          <pc:sldMk cId="784211076" sldId="1931"/>
        </pc:sldMkLst>
        <pc:spChg chg="mod">
          <ac:chgData name="Aurelien Domont" userId="6da7715ce44349b3" providerId="LiveId" clId="{89AD283F-29C6-4E2D-96DD-0D15A9AC49C4}" dt="2021-05-13T05:09:11.032" v="757" actId="20577"/>
          <ac:spMkLst>
            <pc:docMk/>
            <pc:sldMk cId="784211076" sldId="1931"/>
            <ac:spMk id="22" creationId="{EE78CAB5-920F-4474-9507-223D946A1013}"/>
          </ac:spMkLst>
        </pc:spChg>
        <pc:spChg chg="mod">
          <ac:chgData name="Aurelien Domont" userId="6da7715ce44349b3" providerId="LiveId" clId="{89AD283F-29C6-4E2D-96DD-0D15A9AC49C4}" dt="2021-05-13T05:09:17.147" v="759" actId="20577"/>
          <ac:spMkLst>
            <pc:docMk/>
            <pc:sldMk cId="784211076" sldId="1931"/>
            <ac:spMk id="24" creationId="{E8E79278-3E47-491E-80C4-2745363AB20D}"/>
          </ac:spMkLst>
        </pc:spChg>
        <pc:spChg chg="mod">
          <ac:chgData name="Aurelien Domont" userId="6da7715ce44349b3" providerId="LiveId" clId="{89AD283F-29C6-4E2D-96DD-0D15A9AC49C4}" dt="2021-05-13T05:09:22.881" v="761" actId="20577"/>
          <ac:spMkLst>
            <pc:docMk/>
            <pc:sldMk cId="784211076" sldId="1931"/>
            <ac:spMk id="35" creationId="{AE266B61-A26F-4864-A119-B73D8D3EEFE3}"/>
          </ac:spMkLst>
        </pc:spChg>
        <pc:spChg chg="mod">
          <ac:chgData name="Aurelien Domont" userId="6da7715ce44349b3" providerId="LiveId" clId="{89AD283F-29C6-4E2D-96DD-0D15A9AC49C4}" dt="2021-05-13T05:09:28.579" v="763" actId="20577"/>
          <ac:spMkLst>
            <pc:docMk/>
            <pc:sldMk cId="784211076" sldId="1931"/>
            <ac:spMk id="37" creationId="{473EDCDD-9075-40AB-A47F-8FF455A2E444}"/>
          </ac:spMkLst>
        </pc:spChg>
        <pc:spChg chg="mod">
          <ac:chgData name="Aurelien Domont" userId="6da7715ce44349b3" providerId="LiveId" clId="{89AD283F-29C6-4E2D-96DD-0D15A9AC49C4}" dt="2021-05-13T05:09:45.776" v="769" actId="20577"/>
          <ac:spMkLst>
            <pc:docMk/>
            <pc:sldMk cId="784211076" sldId="1931"/>
            <ac:spMk id="39" creationId="{25B98639-8371-4BB9-9FA0-6591943AEA62}"/>
          </ac:spMkLst>
        </pc:spChg>
        <pc:spChg chg="mod">
          <ac:chgData name="Aurelien Domont" userId="6da7715ce44349b3" providerId="LiveId" clId="{89AD283F-29C6-4E2D-96DD-0D15A9AC49C4}" dt="2021-05-13T05:09:37.100" v="765" actId="20577"/>
          <ac:spMkLst>
            <pc:docMk/>
            <pc:sldMk cId="784211076" sldId="1931"/>
            <ac:spMk id="41" creationId="{60047BC4-494E-465F-BB2C-37A58D27A895}"/>
          </ac:spMkLst>
        </pc:spChg>
        <pc:spChg chg="mod">
          <ac:chgData name="Aurelien Domont" userId="6da7715ce44349b3" providerId="LiveId" clId="{89AD283F-29C6-4E2D-96DD-0D15A9AC49C4}" dt="2021-05-13T05:09:50.093" v="771" actId="20577"/>
          <ac:spMkLst>
            <pc:docMk/>
            <pc:sldMk cId="784211076" sldId="1931"/>
            <ac:spMk id="43" creationId="{067232F5-DCB9-418C-AF5E-20A9ADF37A95}"/>
          </ac:spMkLst>
        </pc:spChg>
        <pc:spChg chg="mod">
          <ac:chgData name="Aurelien Domont" userId="6da7715ce44349b3" providerId="LiveId" clId="{89AD283F-29C6-4E2D-96DD-0D15A9AC49C4}" dt="2021-05-13T05:09:41.534" v="767" actId="20577"/>
          <ac:spMkLst>
            <pc:docMk/>
            <pc:sldMk cId="784211076" sldId="1931"/>
            <ac:spMk id="45" creationId="{3C667C76-9848-4E10-980B-6994068638EA}"/>
          </ac:spMkLst>
        </pc:spChg>
      </pc:sldChg>
      <pc:sldChg chg="add">
        <pc:chgData name="Aurelien Domont" userId="6da7715ce44349b3" providerId="LiveId" clId="{89AD283F-29C6-4E2D-96DD-0D15A9AC49C4}" dt="2021-05-13T04:55:13.024" v="689"/>
        <pc:sldMkLst>
          <pc:docMk/>
          <pc:sldMk cId="2589605413" sldId="1938"/>
        </pc:sldMkLst>
      </pc:sldChg>
      <pc:sldChg chg="add">
        <pc:chgData name="Aurelien Domont" userId="6da7715ce44349b3" providerId="LiveId" clId="{89AD283F-29C6-4E2D-96DD-0D15A9AC49C4}" dt="2021-05-13T04:55:13.024" v="689"/>
        <pc:sldMkLst>
          <pc:docMk/>
          <pc:sldMk cId="3714325450" sldId="1939"/>
        </pc:sldMkLst>
      </pc:sldChg>
      <pc:sldChg chg="add">
        <pc:chgData name="Aurelien Domont" userId="6da7715ce44349b3" providerId="LiveId" clId="{89AD283F-29C6-4E2D-96DD-0D15A9AC49C4}" dt="2021-05-13T04:55:13.024" v="689"/>
        <pc:sldMkLst>
          <pc:docMk/>
          <pc:sldMk cId="1414149744" sldId="1940"/>
        </pc:sldMkLst>
      </pc:sldChg>
      <pc:sldChg chg="add">
        <pc:chgData name="Aurelien Domont" userId="6da7715ce44349b3" providerId="LiveId" clId="{89AD283F-29C6-4E2D-96DD-0D15A9AC49C4}" dt="2021-05-13T04:55:13.024" v="689"/>
        <pc:sldMkLst>
          <pc:docMk/>
          <pc:sldMk cId="599795422" sldId="1941"/>
        </pc:sldMkLst>
      </pc:sldChg>
      <pc:sldChg chg="add">
        <pc:chgData name="Aurelien Domont" userId="6da7715ce44349b3" providerId="LiveId" clId="{89AD283F-29C6-4E2D-96DD-0D15A9AC49C4}" dt="2021-05-13T04:55:13.024" v="689"/>
        <pc:sldMkLst>
          <pc:docMk/>
          <pc:sldMk cId="1403188377" sldId="1942"/>
        </pc:sldMkLst>
      </pc:sldChg>
      <pc:sldChg chg="add">
        <pc:chgData name="Aurelien Domont" userId="6da7715ce44349b3" providerId="LiveId" clId="{89AD283F-29C6-4E2D-96DD-0D15A9AC49C4}" dt="2021-05-13T04:55:13.024" v="689"/>
        <pc:sldMkLst>
          <pc:docMk/>
          <pc:sldMk cId="2977576074" sldId="1943"/>
        </pc:sldMkLst>
      </pc:sldChg>
      <pc:sldChg chg="delSp mod">
        <pc:chgData name="Aurelien Domont" userId="6da7715ce44349b3" providerId="LiveId" clId="{89AD283F-29C6-4E2D-96DD-0D15A9AC49C4}" dt="2021-05-13T06:23:44.932" v="824" actId="478"/>
        <pc:sldMkLst>
          <pc:docMk/>
          <pc:sldMk cId="636448820" sldId="1954"/>
        </pc:sldMkLst>
        <pc:spChg chg="del">
          <ac:chgData name="Aurelien Domont" userId="6da7715ce44349b3" providerId="LiveId" clId="{89AD283F-29C6-4E2D-96DD-0D15A9AC49C4}" dt="2021-05-13T06:23:44.932" v="824" actId="478"/>
          <ac:spMkLst>
            <pc:docMk/>
            <pc:sldMk cId="636448820" sldId="1954"/>
            <ac:spMk id="7" creationId="{27A5A911-BB65-4F5A-A8CC-D7C7FF342E34}"/>
          </ac:spMkLst>
        </pc:spChg>
      </pc:sldChg>
      <pc:sldChg chg="delSp mod">
        <pc:chgData name="Aurelien Domont" userId="6da7715ce44349b3" providerId="LiveId" clId="{89AD283F-29C6-4E2D-96DD-0D15A9AC49C4}" dt="2021-05-13T06:23:46.999" v="825" actId="478"/>
        <pc:sldMkLst>
          <pc:docMk/>
          <pc:sldMk cId="387956599" sldId="1956"/>
        </pc:sldMkLst>
        <pc:spChg chg="del">
          <ac:chgData name="Aurelien Domont" userId="6da7715ce44349b3" providerId="LiveId" clId="{89AD283F-29C6-4E2D-96DD-0D15A9AC49C4}" dt="2021-05-13T06:23:46.999" v="825" actId="478"/>
          <ac:spMkLst>
            <pc:docMk/>
            <pc:sldMk cId="387956599" sldId="1956"/>
            <ac:spMk id="7" creationId="{6FFA8562-C37E-48BF-811E-441CA5C5D654}"/>
          </ac:spMkLst>
        </pc:spChg>
      </pc:sldChg>
      <pc:sldChg chg="modSp mod">
        <pc:chgData name="Aurelien Domont" userId="6da7715ce44349b3" providerId="LiveId" clId="{89AD283F-29C6-4E2D-96DD-0D15A9AC49C4}" dt="2021-05-13T05:08:22.266" v="735" actId="20577"/>
        <pc:sldMkLst>
          <pc:docMk/>
          <pc:sldMk cId="2500281719" sldId="2034"/>
        </pc:sldMkLst>
        <pc:spChg chg="mod">
          <ac:chgData name="Aurelien Domont" userId="6da7715ce44349b3" providerId="LiveId" clId="{89AD283F-29C6-4E2D-96DD-0D15A9AC49C4}" dt="2021-05-13T05:06:57.753" v="709" actId="20577"/>
          <ac:spMkLst>
            <pc:docMk/>
            <pc:sldMk cId="2500281719" sldId="2034"/>
            <ac:spMk id="22" creationId="{4C65153E-2DC5-4549-9BEA-3CBB7CE57BAC}"/>
          </ac:spMkLst>
        </pc:spChg>
        <pc:spChg chg="mod">
          <ac:chgData name="Aurelien Domont" userId="6da7715ce44349b3" providerId="LiveId" clId="{89AD283F-29C6-4E2D-96DD-0D15A9AC49C4}" dt="2021-05-13T05:07:35.579" v="724" actId="20577"/>
          <ac:spMkLst>
            <pc:docMk/>
            <pc:sldMk cId="2500281719" sldId="2034"/>
            <ac:spMk id="24" creationId="{57B39C43-1692-4644-9018-578041BDAC00}"/>
          </ac:spMkLst>
        </pc:spChg>
        <pc:spChg chg="mod">
          <ac:chgData name="Aurelien Domont" userId="6da7715ce44349b3" providerId="LiveId" clId="{89AD283F-29C6-4E2D-96DD-0D15A9AC49C4}" dt="2021-05-13T05:07:41.137" v="726" actId="20577"/>
          <ac:spMkLst>
            <pc:docMk/>
            <pc:sldMk cId="2500281719" sldId="2034"/>
            <ac:spMk id="35" creationId="{68CAC4AC-FC9D-495D-A867-A1F7DFAB5EE5}"/>
          </ac:spMkLst>
        </pc:spChg>
        <pc:spChg chg="mod">
          <ac:chgData name="Aurelien Domont" userId="6da7715ce44349b3" providerId="LiveId" clId="{89AD283F-29C6-4E2D-96DD-0D15A9AC49C4}" dt="2021-05-13T05:07:46.290" v="728" actId="20577"/>
          <ac:spMkLst>
            <pc:docMk/>
            <pc:sldMk cId="2500281719" sldId="2034"/>
            <ac:spMk id="37" creationId="{8DD3C8A5-5216-47D7-8F63-A1BED34F8035}"/>
          </ac:spMkLst>
        </pc:spChg>
        <pc:spChg chg="mod">
          <ac:chgData name="Aurelien Domont" userId="6da7715ce44349b3" providerId="LiveId" clId="{89AD283F-29C6-4E2D-96DD-0D15A9AC49C4}" dt="2021-05-13T05:08:16.306" v="733" actId="20577"/>
          <ac:spMkLst>
            <pc:docMk/>
            <pc:sldMk cId="2500281719" sldId="2034"/>
            <ac:spMk id="39" creationId="{99497429-E6FA-47CD-BD12-B83ECF06216C}"/>
          </ac:spMkLst>
        </pc:spChg>
        <pc:spChg chg="mod">
          <ac:chgData name="Aurelien Domont" userId="6da7715ce44349b3" providerId="LiveId" clId="{89AD283F-29C6-4E2D-96DD-0D15A9AC49C4}" dt="2021-05-13T05:08:22.266" v="735" actId="20577"/>
          <ac:spMkLst>
            <pc:docMk/>
            <pc:sldMk cId="2500281719" sldId="2034"/>
            <ac:spMk id="42" creationId="{8AB09FC8-C5F5-4297-AD26-D8245375169B}"/>
          </ac:spMkLst>
        </pc:spChg>
      </pc:sldChg>
      <pc:sldChg chg="modSp mod">
        <pc:chgData name="Aurelien Domont" userId="6da7715ce44349b3" providerId="LiveId" clId="{89AD283F-29C6-4E2D-96DD-0D15A9AC49C4}" dt="2021-05-13T04:53:27.996" v="670"/>
        <pc:sldMkLst>
          <pc:docMk/>
          <pc:sldMk cId="2014281171" sldId="2150"/>
        </pc:sldMkLst>
        <pc:spChg chg="mod">
          <ac:chgData name="Aurelien Domont" userId="6da7715ce44349b3" providerId="LiveId" clId="{89AD283F-29C6-4E2D-96DD-0D15A9AC49C4}" dt="2021-05-13T04:53:27.996" v="670"/>
          <ac:spMkLst>
            <pc:docMk/>
            <pc:sldMk cId="2014281171" sldId="2150"/>
            <ac:spMk id="23" creationId="{8A9EE56F-7681-405E-99E5-058F34F929DD}"/>
          </ac:spMkLst>
        </pc:spChg>
      </pc:sldChg>
      <pc:sldChg chg="modSp mod">
        <pc:chgData name="Aurelien Domont" userId="6da7715ce44349b3" providerId="LiveId" clId="{89AD283F-29C6-4E2D-96DD-0D15A9AC49C4}" dt="2021-05-13T05:17:10.341" v="775" actId="20577"/>
        <pc:sldMkLst>
          <pc:docMk/>
          <pc:sldMk cId="3025566573" sldId="2151"/>
        </pc:sldMkLst>
        <pc:spChg chg="mod">
          <ac:chgData name="Aurelien Domont" userId="6da7715ce44349b3" providerId="LiveId" clId="{89AD283F-29C6-4E2D-96DD-0D15A9AC49C4}" dt="2021-05-13T05:17:10.341" v="775" actId="20577"/>
          <ac:spMkLst>
            <pc:docMk/>
            <pc:sldMk cId="3025566573" sldId="2151"/>
            <ac:spMk id="25" creationId="{F53DB822-D6F4-4387-B810-2DDF193FB7A3}"/>
          </ac:spMkLst>
        </pc:spChg>
      </pc:sldChg>
      <pc:sldChg chg="modSp mod">
        <pc:chgData name="Aurelien Domont" userId="6da7715ce44349b3" providerId="LiveId" clId="{89AD283F-29C6-4E2D-96DD-0D15A9AC49C4}" dt="2021-05-13T05:28:50.149" v="815" actId="242"/>
        <pc:sldMkLst>
          <pc:docMk/>
          <pc:sldMk cId="4171692563" sldId="2152"/>
        </pc:sldMkLst>
        <pc:graphicFrameChg chg="mod modGraphic">
          <ac:chgData name="Aurelien Domont" userId="6da7715ce44349b3" providerId="LiveId" clId="{89AD283F-29C6-4E2D-96DD-0D15A9AC49C4}" dt="2021-05-13T05:28:50.149" v="815" actId="242"/>
          <ac:graphicFrameMkLst>
            <pc:docMk/>
            <pc:sldMk cId="4171692563" sldId="2152"/>
            <ac:graphicFrameMk id="6" creationId="{09869EE9-A6B0-4D25-BE5E-47780156B70A}"/>
          </ac:graphicFrameMkLst>
        </pc:graphicFrameChg>
      </pc:sldChg>
      <pc:sldChg chg="modSp mod">
        <pc:chgData name="Aurelien Domont" userId="6da7715ce44349b3" providerId="LiveId" clId="{89AD283F-29C6-4E2D-96DD-0D15A9AC49C4}" dt="2021-05-13T04:51:47.777" v="570"/>
        <pc:sldMkLst>
          <pc:docMk/>
          <pc:sldMk cId="3148501183" sldId="2157"/>
        </pc:sldMkLst>
        <pc:spChg chg="mod">
          <ac:chgData name="Aurelien Domont" userId="6da7715ce44349b3" providerId="LiveId" clId="{89AD283F-29C6-4E2D-96DD-0D15A9AC49C4}" dt="2021-05-13T04:51:47.777" v="570"/>
          <ac:spMkLst>
            <pc:docMk/>
            <pc:sldMk cId="3148501183" sldId="2157"/>
            <ac:spMk id="34" creationId="{E2BDE0B8-90AF-4DE7-A71B-FE78ADE30B55}"/>
          </ac:spMkLst>
        </pc:spChg>
      </pc:sldChg>
      <pc:sldChg chg="modSp mod">
        <pc:chgData name="Aurelien Domont" userId="6da7715ce44349b3" providerId="LiveId" clId="{89AD283F-29C6-4E2D-96DD-0D15A9AC49C4}" dt="2021-05-13T05:32:41.461" v="818" actId="2084"/>
        <pc:sldMkLst>
          <pc:docMk/>
          <pc:sldMk cId="3299429826" sldId="2159"/>
        </pc:sldMkLst>
        <pc:graphicFrameChg chg="modGraphic">
          <ac:chgData name="Aurelien Domont" userId="6da7715ce44349b3" providerId="LiveId" clId="{89AD283F-29C6-4E2D-96DD-0D15A9AC49C4}" dt="2021-05-13T05:32:41.461" v="818" actId="2084"/>
          <ac:graphicFrameMkLst>
            <pc:docMk/>
            <pc:sldMk cId="3299429826" sldId="2159"/>
            <ac:graphicFrameMk id="6" creationId="{09869EE9-A6B0-4D25-BE5E-47780156B70A}"/>
          </ac:graphicFrameMkLst>
        </pc:graphicFrameChg>
      </pc:sldChg>
      <pc:sldChg chg="modSp mod">
        <pc:chgData name="Aurelien Domont" userId="6da7715ce44349b3" providerId="LiveId" clId="{89AD283F-29C6-4E2D-96DD-0D15A9AC49C4}" dt="2021-05-13T04:51:53.763" v="571"/>
        <pc:sldMkLst>
          <pc:docMk/>
          <pc:sldMk cId="4083923273" sldId="2164"/>
        </pc:sldMkLst>
        <pc:spChg chg="mod">
          <ac:chgData name="Aurelien Domont" userId="6da7715ce44349b3" providerId="LiveId" clId="{89AD283F-29C6-4E2D-96DD-0D15A9AC49C4}" dt="2021-05-13T04:51:53.763" v="571"/>
          <ac:spMkLst>
            <pc:docMk/>
            <pc:sldMk cId="4083923273" sldId="2164"/>
            <ac:spMk id="34" creationId="{E2BDE0B8-90AF-4DE7-A71B-FE78ADE30B55}"/>
          </ac:spMkLst>
        </pc:spChg>
      </pc:sldChg>
      <pc:sldChg chg="modSp mod">
        <pc:chgData name="Aurelien Domont" userId="6da7715ce44349b3" providerId="LiveId" clId="{89AD283F-29C6-4E2D-96DD-0D15A9AC49C4}" dt="2021-05-13T04:52:10.010" v="572"/>
        <pc:sldMkLst>
          <pc:docMk/>
          <pc:sldMk cId="2755439003" sldId="2165"/>
        </pc:sldMkLst>
        <pc:spChg chg="mod">
          <ac:chgData name="Aurelien Domont" userId="6da7715ce44349b3" providerId="LiveId" clId="{89AD283F-29C6-4E2D-96DD-0D15A9AC49C4}" dt="2021-05-13T04:52:10.010" v="572"/>
          <ac:spMkLst>
            <pc:docMk/>
            <pc:sldMk cId="2755439003" sldId="2165"/>
            <ac:spMk id="34" creationId="{E2BDE0B8-90AF-4DE7-A71B-FE78ADE30B55}"/>
          </ac:spMkLst>
        </pc:spChg>
      </pc:sldChg>
      <pc:sldChg chg="modSp mod">
        <pc:chgData name="Aurelien Domont" userId="6da7715ce44349b3" providerId="LiveId" clId="{89AD283F-29C6-4E2D-96DD-0D15A9AC49C4}" dt="2021-05-13T04:52:16.167" v="573"/>
        <pc:sldMkLst>
          <pc:docMk/>
          <pc:sldMk cId="1411304364" sldId="2166"/>
        </pc:sldMkLst>
        <pc:spChg chg="mod">
          <ac:chgData name="Aurelien Domont" userId="6da7715ce44349b3" providerId="LiveId" clId="{89AD283F-29C6-4E2D-96DD-0D15A9AC49C4}" dt="2021-05-13T04:52:16.167" v="573"/>
          <ac:spMkLst>
            <pc:docMk/>
            <pc:sldMk cId="1411304364" sldId="2166"/>
            <ac:spMk id="34" creationId="{E2BDE0B8-90AF-4DE7-A71B-FE78ADE30B55}"/>
          </ac:spMkLst>
        </pc:spChg>
      </pc:sldChg>
      <pc:sldChg chg="modSp mod">
        <pc:chgData name="Aurelien Domont" userId="6da7715ce44349b3" providerId="LiveId" clId="{89AD283F-29C6-4E2D-96DD-0D15A9AC49C4}" dt="2021-05-13T04:55:03.623" v="688" actId="1035"/>
        <pc:sldMkLst>
          <pc:docMk/>
          <pc:sldMk cId="3447837117" sldId="2167"/>
        </pc:sldMkLst>
        <pc:spChg chg="mod">
          <ac:chgData name="Aurelien Domont" userId="6da7715ce44349b3" providerId="LiveId" clId="{89AD283F-29C6-4E2D-96DD-0D15A9AC49C4}" dt="2021-05-13T04:55:03.623" v="688" actId="1035"/>
          <ac:spMkLst>
            <pc:docMk/>
            <pc:sldMk cId="3447837117" sldId="2167"/>
            <ac:spMk id="15" creationId="{790F49E4-4FF7-4ED4-AB0E-7689BABA171D}"/>
          </ac:spMkLst>
        </pc:spChg>
        <pc:spChg chg="mod">
          <ac:chgData name="Aurelien Domont" userId="6da7715ce44349b3" providerId="LiveId" clId="{89AD283F-29C6-4E2D-96DD-0D15A9AC49C4}" dt="2021-05-13T04:52:23.294" v="574"/>
          <ac:spMkLst>
            <pc:docMk/>
            <pc:sldMk cId="3447837117" sldId="2167"/>
            <ac:spMk id="34" creationId="{E2BDE0B8-90AF-4DE7-A71B-FE78ADE30B55}"/>
          </ac:spMkLst>
        </pc:spChg>
      </pc:sldChg>
      <pc:sldChg chg="modSp mod">
        <pc:chgData name="Aurelien Domont" userId="6da7715ce44349b3" providerId="LiveId" clId="{89AD283F-29C6-4E2D-96DD-0D15A9AC49C4}" dt="2021-05-13T05:04:37.846" v="693" actId="20577"/>
        <pc:sldMkLst>
          <pc:docMk/>
          <pc:sldMk cId="3573950410" sldId="2168"/>
        </pc:sldMkLst>
        <pc:spChg chg="mod">
          <ac:chgData name="Aurelien Domont" userId="6da7715ce44349b3" providerId="LiveId" clId="{89AD283F-29C6-4E2D-96DD-0D15A9AC49C4}" dt="2021-05-13T04:52:45.550" v="614" actId="1035"/>
          <ac:spMkLst>
            <pc:docMk/>
            <pc:sldMk cId="3573950410" sldId="2168"/>
            <ac:spMk id="15" creationId="{790F49E4-4FF7-4ED4-AB0E-7689BABA171D}"/>
          </ac:spMkLst>
        </pc:spChg>
        <pc:spChg chg="mod">
          <ac:chgData name="Aurelien Domont" userId="6da7715ce44349b3" providerId="LiveId" clId="{89AD283F-29C6-4E2D-96DD-0D15A9AC49C4}" dt="2021-05-13T05:04:37.846" v="693" actId="20577"/>
          <ac:spMkLst>
            <pc:docMk/>
            <pc:sldMk cId="3573950410" sldId="2168"/>
            <ac:spMk id="16" creationId="{6C2BB713-9637-4B9B-938F-E9768876782A}"/>
          </ac:spMkLst>
        </pc:spChg>
        <pc:spChg chg="mod">
          <ac:chgData name="Aurelien Domont" userId="6da7715ce44349b3" providerId="LiveId" clId="{89AD283F-29C6-4E2D-96DD-0D15A9AC49C4}" dt="2021-05-13T04:52:39.528" v="593"/>
          <ac:spMkLst>
            <pc:docMk/>
            <pc:sldMk cId="3573950410" sldId="2168"/>
            <ac:spMk id="34" creationId="{E2BDE0B8-90AF-4DE7-A71B-FE78ADE30B55}"/>
          </ac:spMkLst>
        </pc:spChg>
      </pc:sldChg>
      <pc:sldChg chg="modSp mod">
        <pc:chgData name="Aurelien Domont" userId="6da7715ce44349b3" providerId="LiveId" clId="{89AD283F-29C6-4E2D-96DD-0D15A9AC49C4}" dt="2021-05-13T05:04:45.139" v="696" actId="20577"/>
        <pc:sldMkLst>
          <pc:docMk/>
          <pc:sldMk cId="3572917904" sldId="2169"/>
        </pc:sldMkLst>
        <pc:spChg chg="mod">
          <ac:chgData name="Aurelien Domont" userId="6da7715ce44349b3" providerId="LiveId" clId="{89AD283F-29C6-4E2D-96DD-0D15A9AC49C4}" dt="2021-05-13T04:52:59.577" v="634" actId="1036"/>
          <ac:spMkLst>
            <pc:docMk/>
            <pc:sldMk cId="3572917904" sldId="2169"/>
            <ac:spMk id="15" creationId="{790F49E4-4FF7-4ED4-AB0E-7689BABA171D}"/>
          </ac:spMkLst>
        </pc:spChg>
        <pc:spChg chg="mod">
          <ac:chgData name="Aurelien Domont" userId="6da7715ce44349b3" providerId="LiveId" clId="{89AD283F-29C6-4E2D-96DD-0D15A9AC49C4}" dt="2021-05-13T05:04:45.139" v="696" actId="20577"/>
          <ac:spMkLst>
            <pc:docMk/>
            <pc:sldMk cId="3572917904" sldId="2169"/>
            <ac:spMk id="16" creationId="{6C2BB713-9637-4B9B-938F-E9768876782A}"/>
          </ac:spMkLst>
        </pc:spChg>
        <pc:spChg chg="mod">
          <ac:chgData name="Aurelien Domont" userId="6da7715ce44349b3" providerId="LiveId" clId="{89AD283F-29C6-4E2D-96DD-0D15A9AC49C4}" dt="2021-05-13T04:52:52.225" v="615"/>
          <ac:spMkLst>
            <pc:docMk/>
            <pc:sldMk cId="3572917904" sldId="2169"/>
            <ac:spMk id="34" creationId="{E2BDE0B8-90AF-4DE7-A71B-FE78ADE30B55}"/>
          </ac:spMkLst>
        </pc:spChg>
      </pc:sldChg>
      <pc:sldChg chg="modSp mod">
        <pc:chgData name="Aurelien Domont" userId="6da7715ce44349b3" providerId="LiveId" clId="{89AD283F-29C6-4E2D-96DD-0D15A9AC49C4}" dt="2021-05-13T05:04:54.754" v="698" actId="20577"/>
        <pc:sldMkLst>
          <pc:docMk/>
          <pc:sldMk cId="1511000650" sldId="2170"/>
        </pc:sldMkLst>
        <pc:spChg chg="mod">
          <ac:chgData name="Aurelien Domont" userId="6da7715ce44349b3" providerId="LiveId" clId="{89AD283F-29C6-4E2D-96DD-0D15A9AC49C4}" dt="2021-05-13T04:53:12.560" v="651" actId="1035"/>
          <ac:spMkLst>
            <pc:docMk/>
            <pc:sldMk cId="1511000650" sldId="2170"/>
            <ac:spMk id="15" creationId="{790F49E4-4FF7-4ED4-AB0E-7689BABA171D}"/>
          </ac:spMkLst>
        </pc:spChg>
        <pc:spChg chg="mod">
          <ac:chgData name="Aurelien Domont" userId="6da7715ce44349b3" providerId="LiveId" clId="{89AD283F-29C6-4E2D-96DD-0D15A9AC49C4}" dt="2021-05-13T05:04:54.754" v="698" actId="20577"/>
          <ac:spMkLst>
            <pc:docMk/>
            <pc:sldMk cId="1511000650" sldId="2170"/>
            <ac:spMk id="16" creationId="{6C2BB713-9637-4B9B-938F-E9768876782A}"/>
          </ac:spMkLst>
        </pc:spChg>
        <pc:spChg chg="mod">
          <ac:chgData name="Aurelien Domont" userId="6da7715ce44349b3" providerId="LiveId" clId="{89AD283F-29C6-4E2D-96DD-0D15A9AC49C4}" dt="2021-05-13T04:51:24.082" v="569" actId="20577"/>
          <ac:spMkLst>
            <pc:docMk/>
            <pc:sldMk cId="1511000650" sldId="2170"/>
            <ac:spMk id="34" creationId="{E2BDE0B8-90AF-4DE7-A71B-FE78ADE30B55}"/>
          </ac:spMkLst>
        </pc:spChg>
      </pc:sldChg>
      <pc:sldChg chg="modSp mod">
        <pc:chgData name="Aurelien Domont" userId="6da7715ce44349b3" providerId="LiveId" clId="{89AD283F-29C6-4E2D-96DD-0D15A9AC49C4}" dt="2021-05-13T05:05:02.111" v="700" actId="20577"/>
        <pc:sldMkLst>
          <pc:docMk/>
          <pc:sldMk cId="2988587118" sldId="2171"/>
        </pc:sldMkLst>
        <pc:spChg chg="mod">
          <ac:chgData name="Aurelien Domont" userId="6da7715ce44349b3" providerId="LiveId" clId="{89AD283F-29C6-4E2D-96DD-0D15A9AC49C4}" dt="2021-05-13T04:53:22.729" v="669" actId="1036"/>
          <ac:spMkLst>
            <pc:docMk/>
            <pc:sldMk cId="2988587118" sldId="2171"/>
            <ac:spMk id="15" creationId="{790F49E4-4FF7-4ED4-AB0E-7689BABA171D}"/>
          </ac:spMkLst>
        </pc:spChg>
        <pc:spChg chg="mod">
          <ac:chgData name="Aurelien Domont" userId="6da7715ce44349b3" providerId="LiveId" clId="{89AD283F-29C6-4E2D-96DD-0D15A9AC49C4}" dt="2021-05-13T05:05:02.111" v="700" actId="20577"/>
          <ac:spMkLst>
            <pc:docMk/>
            <pc:sldMk cId="2988587118" sldId="2171"/>
            <ac:spMk id="16" creationId="{6C2BB713-9637-4B9B-938F-E9768876782A}"/>
          </ac:spMkLst>
        </pc:spChg>
        <pc:spChg chg="mod">
          <ac:chgData name="Aurelien Domont" userId="6da7715ce44349b3" providerId="LiveId" clId="{89AD283F-29C6-4E2D-96DD-0D15A9AC49C4}" dt="2021-05-13T04:53:18.336" v="652"/>
          <ac:spMkLst>
            <pc:docMk/>
            <pc:sldMk cId="2988587118" sldId="2171"/>
            <ac:spMk id="34" creationId="{E2BDE0B8-90AF-4DE7-A71B-FE78ADE30B55}"/>
          </ac:spMkLst>
        </pc:spChg>
      </pc:sldChg>
      <pc:sldChg chg="addSp delSp modSp mod">
        <pc:chgData name="Aurelien Domont" userId="6da7715ce44349b3" providerId="LiveId" clId="{89AD283F-29C6-4E2D-96DD-0D15A9AC49C4}" dt="2021-05-13T04:42:18.383" v="516" actId="20577"/>
        <pc:sldMkLst>
          <pc:docMk/>
          <pc:sldMk cId="1424356935" sldId="2172"/>
        </pc:sldMkLst>
        <pc:spChg chg="add del mod">
          <ac:chgData name="Aurelien Domont" userId="6da7715ce44349b3" providerId="LiveId" clId="{89AD283F-29C6-4E2D-96DD-0D15A9AC49C4}" dt="2021-05-13T04:32:09.511" v="336" actId="478"/>
          <ac:spMkLst>
            <pc:docMk/>
            <pc:sldMk cId="1424356935" sldId="2172"/>
            <ac:spMk id="2" creationId="{9133E0CF-7CC7-4447-A31B-AB2D800934C3}"/>
          </ac:spMkLst>
        </pc:spChg>
        <pc:spChg chg="add mod">
          <ac:chgData name="Aurelien Domont" userId="6da7715ce44349b3" providerId="LiveId" clId="{89AD283F-29C6-4E2D-96DD-0D15A9AC49C4}" dt="2021-05-13T04:34:47.293" v="508" actId="1036"/>
          <ac:spMkLst>
            <pc:docMk/>
            <pc:sldMk cId="1424356935" sldId="2172"/>
            <ac:spMk id="4" creationId="{149D4DC5-0BD1-45EE-8644-5A28BDB7B194}"/>
          </ac:spMkLst>
        </pc:spChg>
        <pc:spChg chg="mod">
          <ac:chgData name="Aurelien Domont" userId="6da7715ce44349b3" providerId="LiveId" clId="{89AD283F-29C6-4E2D-96DD-0D15A9AC49C4}" dt="2021-05-13T04:25:58.369" v="208" actId="20577"/>
          <ac:spMkLst>
            <pc:docMk/>
            <pc:sldMk cId="1424356935" sldId="2172"/>
            <ac:spMk id="16" creationId="{6C2BB713-9637-4B9B-938F-E9768876782A}"/>
          </ac:spMkLst>
        </pc:spChg>
        <pc:spChg chg="add mod">
          <ac:chgData name="Aurelien Domont" userId="6da7715ce44349b3" providerId="LiveId" clId="{89AD283F-29C6-4E2D-96DD-0D15A9AC49C4}" dt="2021-05-13T04:42:18.383" v="516" actId="20577"/>
          <ac:spMkLst>
            <pc:docMk/>
            <pc:sldMk cId="1424356935" sldId="2172"/>
            <ac:spMk id="17" creationId="{57E001C1-C496-48E8-9CC2-E85BD667368C}"/>
          </ac:spMkLst>
        </pc:spChg>
        <pc:spChg chg="add del mod">
          <ac:chgData name="Aurelien Domont" userId="6da7715ce44349b3" providerId="LiveId" clId="{89AD283F-29C6-4E2D-96DD-0D15A9AC49C4}" dt="2021-05-13T04:32:41.555" v="344" actId="478"/>
          <ac:spMkLst>
            <pc:docMk/>
            <pc:sldMk cId="1424356935" sldId="2172"/>
            <ac:spMk id="18" creationId="{C35BF8E0-01BD-4C44-9F1A-01766FECC716}"/>
          </ac:spMkLst>
        </pc:spChg>
        <pc:spChg chg="del">
          <ac:chgData name="Aurelien Domont" userId="6da7715ce44349b3" providerId="LiveId" clId="{89AD283F-29C6-4E2D-96DD-0D15A9AC49C4}" dt="2021-05-13T04:26:01.654" v="209" actId="478"/>
          <ac:spMkLst>
            <pc:docMk/>
            <pc:sldMk cId="1424356935" sldId="2172"/>
            <ac:spMk id="21" creationId="{181F1D5E-524E-4EB5-9CDD-F7C5B32D4596}"/>
          </ac:spMkLst>
        </pc:spChg>
        <pc:spChg chg="del">
          <ac:chgData name="Aurelien Domont" userId="6da7715ce44349b3" providerId="LiveId" clId="{89AD283F-29C6-4E2D-96DD-0D15A9AC49C4}" dt="2021-05-13T04:26:01.654" v="209" actId="478"/>
          <ac:spMkLst>
            <pc:docMk/>
            <pc:sldMk cId="1424356935" sldId="2172"/>
            <ac:spMk id="22" creationId="{6424B24E-4C20-4EF7-AEE4-97DE6AB33117}"/>
          </ac:spMkLst>
        </pc:spChg>
        <pc:spChg chg="del">
          <ac:chgData name="Aurelien Domont" userId="6da7715ce44349b3" providerId="LiveId" clId="{89AD283F-29C6-4E2D-96DD-0D15A9AC49C4}" dt="2021-05-13T04:26:01.654" v="209" actId="478"/>
          <ac:spMkLst>
            <pc:docMk/>
            <pc:sldMk cId="1424356935" sldId="2172"/>
            <ac:spMk id="23" creationId="{D0C08E85-6656-4D70-A634-B81EEB60AA99}"/>
          </ac:spMkLst>
        </pc:spChg>
        <pc:spChg chg="del">
          <ac:chgData name="Aurelien Domont" userId="6da7715ce44349b3" providerId="LiveId" clId="{89AD283F-29C6-4E2D-96DD-0D15A9AC49C4}" dt="2021-05-13T04:26:01.654" v="209" actId="478"/>
          <ac:spMkLst>
            <pc:docMk/>
            <pc:sldMk cId="1424356935" sldId="2172"/>
            <ac:spMk id="24" creationId="{E2A79F9E-459F-41E7-9331-768A9D1F23AD}"/>
          </ac:spMkLst>
        </pc:spChg>
        <pc:grpChg chg="del">
          <ac:chgData name="Aurelien Domont" userId="6da7715ce44349b3" providerId="LiveId" clId="{89AD283F-29C6-4E2D-96DD-0D15A9AC49C4}" dt="2021-05-13T04:26:01.654" v="209" actId="478"/>
          <ac:grpSpMkLst>
            <pc:docMk/>
            <pc:sldMk cId="1424356935" sldId="2172"/>
            <ac:grpSpMk id="14" creationId="{CED553A7-F451-4C6B-80C1-B9C5D4F1F0BA}"/>
          </ac:grpSpMkLst>
        </pc:grpChg>
        <pc:picChg chg="del">
          <ac:chgData name="Aurelien Domont" userId="6da7715ce44349b3" providerId="LiveId" clId="{89AD283F-29C6-4E2D-96DD-0D15A9AC49C4}" dt="2021-05-13T04:26:01.654" v="209" actId="478"/>
          <ac:picMkLst>
            <pc:docMk/>
            <pc:sldMk cId="1424356935" sldId="2172"/>
            <ac:picMk id="27" creationId="{42FC7054-E0B3-48E6-B5E9-75265E6C0A69}"/>
          </ac:picMkLst>
        </pc:picChg>
      </pc:sldChg>
      <pc:sldChg chg="add">
        <pc:chgData name="Aurelien Domont" userId="6da7715ce44349b3" providerId="LiveId" clId="{89AD283F-29C6-4E2D-96DD-0D15A9AC49C4}" dt="2021-05-13T04:35:28.638" v="510"/>
        <pc:sldMkLst>
          <pc:docMk/>
          <pc:sldMk cId="3261568431" sldId="2173"/>
        </pc:sldMkLst>
      </pc:sldChg>
      <pc:sldChg chg="add">
        <pc:chgData name="Aurelien Domont" userId="6da7715ce44349b3" providerId="LiveId" clId="{89AD283F-29C6-4E2D-96DD-0D15A9AC49C4}" dt="2021-05-13T04:35:29.019" v="511"/>
        <pc:sldMkLst>
          <pc:docMk/>
          <pc:sldMk cId="1382332683" sldId="2174"/>
        </pc:sldMkLst>
      </pc:sldChg>
      <pc:sldChg chg="add">
        <pc:chgData name="Aurelien Domont" userId="6da7715ce44349b3" providerId="LiveId" clId="{89AD283F-29C6-4E2D-96DD-0D15A9AC49C4}" dt="2021-05-13T04:35:29.355" v="512"/>
        <pc:sldMkLst>
          <pc:docMk/>
          <pc:sldMk cId="2769929965" sldId="2175"/>
        </pc:sldMkLst>
      </pc:sldChg>
      <pc:sldChg chg="add">
        <pc:chgData name="Aurelien Domont" userId="6da7715ce44349b3" providerId="LiveId" clId="{89AD283F-29C6-4E2D-96DD-0D15A9AC49C4}" dt="2021-05-13T04:35:29.714" v="513"/>
        <pc:sldMkLst>
          <pc:docMk/>
          <pc:sldMk cId="4272825816" sldId="2176"/>
        </pc:sldMkLst>
      </pc:sldChg>
      <pc:sldChg chg="modSp add mod">
        <pc:chgData name="Aurelien Domont" userId="6da7715ce44349b3" providerId="LiveId" clId="{89AD283F-29C6-4E2D-96DD-0D15A9AC49C4}" dt="2021-05-13T05:04:28.949" v="691" actId="20577"/>
        <pc:sldMkLst>
          <pc:docMk/>
          <pc:sldMk cId="20768916" sldId="2177"/>
        </pc:sldMkLst>
        <pc:spChg chg="mod">
          <ac:chgData name="Aurelien Domont" userId="6da7715ce44349b3" providerId="LiveId" clId="{89AD283F-29C6-4E2D-96DD-0D15A9AC49C4}" dt="2021-05-13T05:04:28.949" v="691" actId="20577"/>
          <ac:spMkLst>
            <pc:docMk/>
            <pc:sldMk cId="20768916" sldId="2177"/>
            <ac:spMk id="16" creationId="{6C2BB713-9637-4B9B-938F-E9768876782A}"/>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92CD6270-648B-4766-8E93-3F5A05499885}"/>
    <pc:docChg chg="delSld modSld">
      <pc:chgData name="Aurelien Domont" userId="6da7715ce44349b3" providerId="LiveId" clId="{92CD6270-648B-4766-8E93-3F5A05499885}" dt="2021-06-04T05:29:10.745" v="16" actId="47"/>
      <pc:docMkLst>
        <pc:docMk/>
      </pc:docMkLst>
      <pc:sldChg chg="modSp mod">
        <pc:chgData name="Aurelien Domont" userId="6da7715ce44349b3" providerId="LiveId" clId="{92CD6270-648B-4766-8E93-3F5A05499885}" dt="2021-06-04T05:10:52.219" v="15" actId="20577"/>
        <pc:sldMkLst>
          <pc:docMk/>
          <pc:sldMk cId="784211076" sldId="1931"/>
        </pc:sldMkLst>
        <pc:spChg chg="mod">
          <ac:chgData name="Aurelien Domont" userId="6da7715ce44349b3" providerId="LiveId" clId="{92CD6270-648B-4766-8E93-3F5A05499885}" dt="2021-06-04T05:10:36.631" v="8" actId="20577"/>
          <ac:spMkLst>
            <pc:docMk/>
            <pc:sldMk cId="784211076" sldId="1931"/>
            <ac:spMk id="22" creationId="{EE78CAB5-920F-4474-9507-223D946A1013}"/>
          </ac:spMkLst>
        </pc:spChg>
        <pc:spChg chg="mod">
          <ac:chgData name="Aurelien Domont" userId="6da7715ce44349b3" providerId="LiveId" clId="{92CD6270-648B-4766-8E93-3F5A05499885}" dt="2021-06-04T05:10:38.693" v="9" actId="20577"/>
          <ac:spMkLst>
            <pc:docMk/>
            <pc:sldMk cId="784211076" sldId="1931"/>
            <ac:spMk id="24" creationId="{E8E79278-3E47-491E-80C4-2745363AB20D}"/>
          </ac:spMkLst>
        </pc:spChg>
        <pc:spChg chg="mod">
          <ac:chgData name="Aurelien Domont" userId="6da7715ce44349b3" providerId="LiveId" clId="{92CD6270-648B-4766-8E93-3F5A05499885}" dt="2021-06-04T05:10:40.771" v="10" actId="20577"/>
          <ac:spMkLst>
            <pc:docMk/>
            <pc:sldMk cId="784211076" sldId="1931"/>
            <ac:spMk id="35" creationId="{AE266B61-A26F-4864-A119-B73D8D3EEFE3}"/>
          </ac:spMkLst>
        </pc:spChg>
        <pc:spChg chg="mod">
          <ac:chgData name="Aurelien Domont" userId="6da7715ce44349b3" providerId="LiveId" clId="{92CD6270-648B-4766-8E93-3F5A05499885}" dt="2021-06-04T05:10:43.722" v="11" actId="20577"/>
          <ac:spMkLst>
            <pc:docMk/>
            <pc:sldMk cId="784211076" sldId="1931"/>
            <ac:spMk id="37" creationId="{473EDCDD-9075-40AB-A47F-8FF455A2E444}"/>
          </ac:spMkLst>
        </pc:spChg>
        <pc:spChg chg="mod">
          <ac:chgData name="Aurelien Domont" userId="6da7715ce44349b3" providerId="LiveId" clId="{92CD6270-648B-4766-8E93-3F5A05499885}" dt="2021-06-04T05:10:50.559" v="14" actId="20577"/>
          <ac:spMkLst>
            <pc:docMk/>
            <pc:sldMk cId="784211076" sldId="1931"/>
            <ac:spMk id="39" creationId="{25B98639-8371-4BB9-9FA0-6591943AEA62}"/>
          </ac:spMkLst>
        </pc:spChg>
        <pc:spChg chg="mod">
          <ac:chgData name="Aurelien Domont" userId="6da7715ce44349b3" providerId="LiveId" clId="{92CD6270-648B-4766-8E93-3F5A05499885}" dt="2021-06-04T05:10:45.894" v="12" actId="20577"/>
          <ac:spMkLst>
            <pc:docMk/>
            <pc:sldMk cId="784211076" sldId="1931"/>
            <ac:spMk id="41" creationId="{60047BC4-494E-465F-BB2C-37A58D27A895}"/>
          </ac:spMkLst>
        </pc:spChg>
        <pc:spChg chg="mod">
          <ac:chgData name="Aurelien Domont" userId="6da7715ce44349b3" providerId="LiveId" clId="{92CD6270-648B-4766-8E93-3F5A05499885}" dt="2021-06-04T05:10:52.219" v="15" actId="20577"/>
          <ac:spMkLst>
            <pc:docMk/>
            <pc:sldMk cId="784211076" sldId="1931"/>
            <ac:spMk id="43" creationId="{067232F5-DCB9-418C-AF5E-20A9ADF37A95}"/>
          </ac:spMkLst>
        </pc:spChg>
        <pc:spChg chg="mod">
          <ac:chgData name="Aurelien Domont" userId="6da7715ce44349b3" providerId="LiveId" clId="{92CD6270-648B-4766-8E93-3F5A05499885}" dt="2021-06-04T05:10:48.453" v="13" actId="20577"/>
          <ac:spMkLst>
            <pc:docMk/>
            <pc:sldMk cId="784211076" sldId="1931"/>
            <ac:spMk id="45" creationId="{3C667C76-9848-4E10-980B-6994068638EA}"/>
          </ac:spMkLst>
        </pc:spChg>
      </pc:sldChg>
      <pc:sldChg chg="modSp mod">
        <pc:chgData name="Aurelien Domont" userId="6da7715ce44349b3" providerId="LiveId" clId="{92CD6270-648B-4766-8E93-3F5A05499885}" dt="2021-06-04T05:10:29.635" v="7" actId="20577"/>
        <pc:sldMkLst>
          <pc:docMk/>
          <pc:sldMk cId="2500281719" sldId="2034"/>
        </pc:sldMkLst>
        <pc:spChg chg="mod">
          <ac:chgData name="Aurelien Domont" userId="6da7715ce44349b3" providerId="LiveId" clId="{92CD6270-648B-4766-8E93-3F5A05499885}" dt="2021-06-04T05:10:18.517" v="2" actId="20577"/>
          <ac:spMkLst>
            <pc:docMk/>
            <pc:sldMk cId="2500281719" sldId="2034"/>
            <ac:spMk id="22" creationId="{4C65153E-2DC5-4549-9BEA-3CBB7CE57BAC}"/>
          </ac:spMkLst>
        </pc:spChg>
        <pc:spChg chg="mod">
          <ac:chgData name="Aurelien Domont" userId="6da7715ce44349b3" providerId="LiveId" clId="{92CD6270-648B-4766-8E93-3F5A05499885}" dt="2021-06-04T05:10:20.479" v="3" actId="20577"/>
          <ac:spMkLst>
            <pc:docMk/>
            <pc:sldMk cId="2500281719" sldId="2034"/>
            <ac:spMk id="24" creationId="{57B39C43-1692-4644-9018-578041BDAC00}"/>
          </ac:spMkLst>
        </pc:spChg>
        <pc:spChg chg="mod">
          <ac:chgData name="Aurelien Domont" userId="6da7715ce44349b3" providerId="LiveId" clId="{92CD6270-648B-4766-8E93-3F5A05499885}" dt="2021-06-04T05:10:22.773" v="4" actId="20577"/>
          <ac:spMkLst>
            <pc:docMk/>
            <pc:sldMk cId="2500281719" sldId="2034"/>
            <ac:spMk id="35" creationId="{68CAC4AC-FC9D-495D-A867-A1F7DFAB5EE5}"/>
          </ac:spMkLst>
        </pc:spChg>
        <pc:spChg chg="mod">
          <ac:chgData name="Aurelien Domont" userId="6da7715ce44349b3" providerId="LiveId" clId="{92CD6270-648B-4766-8E93-3F5A05499885}" dt="2021-06-04T05:10:25.224" v="5" actId="20577"/>
          <ac:spMkLst>
            <pc:docMk/>
            <pc:sldMk cId="2500281719" sldId="2034"/>
            <ac:spMk id="37" creationId="{8DD3C8A5-5216-47D7-8F63-A1BED34F8035}"/>
          </ac:spMkLst>
        </pc:spChg>
        <pc:spChg chg="mod">
          <ac:chgData name="Aurelien Domont" userId="6da7715ce44349b3" providerId="LiveId" clId="{92CD6270-648B-4766-8E93-3F5A05499885}" dt="2021-06-04T05:10:27.525" v="6" actId="20577"/>
          <ac:spMkLst>
            <pc:docMk/>
            <pc:sldMk cId="2500281719" sldId="2034"/>
            <ac:spMk id="39" creationId="{99497429-E6FA-47CD-BD12-B83ECF06216C}"/>
          </ac:spMkLst>
        </pc:spChg>
        <pc:spChg chg="mod">
          <ac:chgData name="Aurelien Domont" userId="6da7715ce44349b3" providerId="LiveId" clId="{92CD6270-648B-4766-8E93-3F5A05499885}" dt="2021-06-04T05:10:29.635" v="7" actId="20577"/>
          <ac:spMkLst>
            <pc:docMk/>
            <pc:sldMk cId="2500281719" sldId="2034"/>
            <ac:spMk id="42" creationId="{8AB09FC8-C5F5-4297-AD26-D8245375169B}"/>
          </ac:spMkLst>
        </pc:spChg>
      </pc:sldChg>
      <pc:sldChg chg="del">
        <pc:chgData name="Aurelien Domont" userId="6da7715ce44349b3" providerId="LiveId" clId="{92CD6270-648B-4766-8E93-3F5A05499885}" dt="2021-06-04T05:29:10.745" v="16" actId="47"/>
        <pc:sldMkLst>
          <pc:docMk/>
          <pc:sldMk cId="4208437711" sldId="2148"/>
        </pc:sldMkLst>
      </pc:sldChg>
    </pc:docChg>
  </pc:docChgLst>
  <pc:docChgLst>
    <pc:chgData name="Aurelien Domont" userId="6da7715ce44349b3" providerId="LiveId" clId="{95A5D03F-8C3E-488A-9075-66D9938CC4B2}"/>
    <pc:docChg chg="undo custSel addSld delSld modSld">
      <pc:chgData name="Aurelien Domont" userId="6da7715ce44349b3" providerId="LiveId" clId="{95A5D03F-8C3E-488A-9075-66D9938CC4B2}" dt="2021-05-11T07:18:15.778" v="31" actId="20577"/>
      <pc:docMkLst>
        <pc:docMk/>
      </pc:docMkLst>
      <pc:sldChg chg="modSp mod">
        <pc:chgData name="Aurelien Domont" userId="6da7715ce44349b3" providerId="LiveId" clId="{95A5D03F-8C3E-488A-9075-66D9938CC4B2}" dt="2021-05-11T07:18:08.739" v="30" actId="313"/>
        <pc:sldMkLst>
          <pc:docMk/>
          <pc:sldMk cId="2014281171" sldId="2150"/>
        </pc:sldMkLst>
        <pc:spChg chg="mod">
          <ac:chgData name="Aurelien Domont" userId="6da7715ce44349b3" providerId="LiveId" clId="{95A5D03F-8C3E-488A-9075-66D9938CC4B2}" dt="2021-05-11T07:18:08.241" v="29" actId="313"/>
          <ac:spMkLst>
            <pc:docMk/>
            <pc:sldMk cId="2014281171" sldId="2150"/>
            <ac:spMk id="24" creationId="{B0F330B5-6268-47B6-9D73-B8FE76EE7E0C}"/>
          </ac:spMkLst>
        </pc:spChg>
        <pc:spChg chg="mod">
          <ac:chgData name="Aurelien Domont" userId="6da7715ce44349b3" providerId="LiveId" clId="{95A5D03F-8C3E-488A-9075-66D9938CC4B2}" dt="2021-05-11T07:18:08.739" v="30" actId="313"/>
          <ac:spMkLst>
            <pc:docMk/>
            <pc:sldMk cId="2014281171" sldId="2150"/>
            <ac:spMk id="25" creationId="{99F88341-1918-42BF-99AA-E09800DAB49B}"/>
          </ac:spMkLst>
        </pc:spChg>
      </pc:sldChg>
      <pc:sldChg chg="modSp mod">
        <pc:chgData name="Aurelien Domont" userId="6da7715ce44349b3" providerId="LiveId" clId="{95A5D03F-8C3E-488A-9075-66D9938CC4B2}" dt="2021-05-11T07:01:55.130" v="10" actId="207"/>
        <pc:sldMkLst>
          <pc:docMk/>
          <pc:sldMk cId="4171692563" sldId="2152"/>
        </pc:sldMkLst>
        <pc:graphicFrameChg chg="modGraphic">
          <ac:chgData name="Aurelien Domont" userId="6da7715ce44349b3" providerId="LiveId" clId="{95A5D03F-8C3E-488A-9075-66D9938CC4B2}" dt="2021-05-11T07:01:55.130" v="10" actId="207"/>
          <ac:graphicFrameMkLst>
            <pc:docMk/>
            <pc:sldMk cId="4171692563" sldId="2152"/>
            <ac:graphicFrameMk id="6" creationId="{09869EE9-A6B0-4D25-BE5E-47780156B70A}"/>
          </ac:graphicFrameMkLst>
        </pc:graphicFrameChg>
      </pc:sldChg>
      <pc:sldChg chg="modSp mod">
        <pc:chgData name="Aurelien Domont" userId="6da7715ce44349b3" providerId="LiveId" clId="{95A5D03F-8C3E-488A-9075-66D9938CC4B2}" dt="2021-05-11T07:18:15.778" v="31" actId="20577"/>
        <pc:sldMkLst>
          <pc:docMk/>
          <pc:sldMk cId="3148501183" sldId="2157"/>
        </pc:sldMkLst>
        <pc:spChg chg="mod">
          <ac:chgData name="Aurelien Domont" userId="6da7715ce44349b3" providerId="LiveId" clId="{95A5D03F-8C3E-488A-9075-66D9938CC4B2}" dt="2021-05-11T07:18:15.778" v="31" actId="20577"/>
          <ac:spMkLst>
            <pc:docMk/>
            <pc:sldMk cId="3148501183" sldId="2157"/>
            <ac:spMk id="35" creationId="{1BC3B263-81C3-42AD-96C7-45AB7FFD0557}"/>
          </ac:spMkLst>
        </pc:spChg>
        <pc:spChg chg="mod">
          <ac:chgData name="Aurelien Domont" userId="6da7715ce44349b3" providerId="LiveId" clId="{95A5D03F-8C3E-488A-9075-66D9938CC4B2}" dt="2021-05-11T07:17:45.398" v="18" actId="313"/>
          <ac:spMkLst>
            <pc:docMk/>
            <pc:sldMk cId="3148501183" sldId="2157"/>
            <ac:spMk id="36" creationId="{DEACEA99-9E9A-408A-9277-86EFC1C60A69}"/>
          </ac:spMkLst>
        </pc:spChg>
      </pc:sldChg>
      <pc:sldChg chg="modSp mod">
        <pc:chgData name="Aurelien Domont" userId="6da7715ce44349b3" providerId="LiveId" clId="{95A5D03F-8C3E-488A-9075-66D9938CC4B2}" dt="2021-05-11T07:18:03.247" v="23" actId="313"/>
        <pc:sldMkLst>
          <pc:docMk/>
          <pc:sldMk cId="1759510958" sldId="2158"/>
        </pc:sldMkLst>
        <pc:graphicFrameChg chg="modGraphic">
          <ac:chgData name="Aurelien Domont" userId="6da7715ce44349b3" providerId="LiveId" clId="{95A5D03F-8C3E-488A-9075-66D9938CC4B2}" dt="2021-05-11T07:18:03.247" v="23" actId="313"/>
          <ac:graphicFrameMkLst>
            <pc:docMk/>
            <pc:sldMk cId="1759510958" sldId="2158"/>
            <ac:graphicFrameMk id="6" creationId="{09869EE9-A6B0-4D25-BE5E-47780156B70A}"/>
          </ac:graphicFrameMkLst>
        </pc:graphicFrameChg>
      </pc:sldChg>
      <pc:sldChg chg="modSp mod">
        <pc:chgData name="Aurelien Domont" userId="6da7715ce44349b3" providerId="LiveId" clId="{95A5D03F-8C3E-488A-9075-66D9938CC4B2}" dt="2021-05-11T07:18:04.298" v="24" actId="313"/>
        <pc:sldMkLst>
          <pc:docMk/>
          <pc:sldMk cId="3299429826" sldId="2159"/>
        </pc:sldMkLst>
        <pc:graphicFrameChg chg="modGraphic">
          <ac:chgData name="Aurelien Domont" userId="6da7715ce44349b3" providerId="LiveId" clId="{95A5D03F-8C3E-488A-9075-66D9938CC4B2}" dt="2021-05-11T07:18:04.298" v="24" actId="313"/>
          <ac:graphicFrameMkLst>
            <pc:docMk/>
            <pc:sldMk cId="3299429826" sldId="2159"/>
            <ac:graphicFrameMk id="6" creationId="{09869EE9-A6B0-4D25-BE5E-47780156B70A}"/>
          </ac:graphicFrameMkLst>
        </pc:graphicFrameChg>
      </pc:sldChg>
      <pc:sldChg chg="modSp mod">
        <pc:chgData name="Aurelien Domont" userId="6da7715ce44349b3" providerId="LiveId" clId="{95A5D03F-8C3E-488A-9075-66D9938CC4B2}" dt="2021-05-11T07:17:49.998" v="20" actId="313"/>
        <pc:sldMkLst>
          <pc:docMk/>
          <pc:sldMk cId="4083923273" sldId="2164"/>
        </pc:sldMkLst>
        <pc:spChg chg="mod">
          <ac:chgData name="Aurelien Domont" userId="6da7715ce44349b3" providerId="LiveId" clId="{95A5D03F-8C3E-488A-9075-66D9938CC4B2}" dt="2021-05-11T07:17:48.325" v="19" actId="313"/>
          <ac:spMkLst>
            <pc:docMk/>
            <pc:sldMk cId="4083923273" sldId="2164"/>
            <ac:spMk id="35" creationId="{1BC3B263-81C3-42AD-96C7-45AB7FFD0557}"/>
          </ac:spMkLst>
        </pc:spChg>
        <pc:spChg chg="mod">
          <ac:chgData name="Aurelien Domont" userId="6da7715ce44349b3" providerId="LiveId" clId="{95A5D03F-8C3E-488A-9075-66D9938CC4B2}" dt="2021-05-11T07:17:49.998" v="20" actId="313"/>
          <ac:spMkLst>
            <pc:docMk/>
            <pc:sldMk cId="4083923273" sldId="2164"/>
            <ac:spMk id="36" creationId="{DEACEA99-9E9A-408A-9277-86EFC1C60A69}"/>
          </ac:spMkLst>
        </pc:spChg>
      </pc:sldChg>
      <pc:sldChg chg="modSp mod">
        <pc:chgData name="Aurelien Domont" userId="6da7715ce44349b3" providerId="LiveId" clId="{95A5D03F-8C3E-488A-9075-66D9938CC4B2}" dt="2021-05-11T07:17:51.812" v="22" actId="313"/>
        <pc:sldMkLst>
          <pc:docMk/>
          <pc:sldMk cId="2755439003" sldId="2165"/>
        </pc:sldMkLst>
        <pc:spChg chg="mod">
          <ac:chgData name="Aurelien Domont" userId="6da7715ce44349b3" providerId="LiveId" clId="{95A5D03F-8C3E-488A-9075-66D9938CC4B2}" dt="2021-05-11T07:17:51.206" v="21" actId="313"/>
          <ac:spMkLst>
            <pc:docMk/>
            <pc:sldMk cId="2755439003" sldId="2165"/>
            <ac:spMk id="35" creationId="{1BC3B263-81C3-42AD-96C7-45AB7FFD0557}"/>
          </ac:spMkLst>
        </pc:spChg>
        <pc:spChg chg="mod">
          <ac:chgData name="Aurelien Domont" userId="6da7715ce44349b3" providerId="LiveId" clId="{95A5D03F-8C3E-488A-9075-66D9938CC4B2}" dt="2021-05-11T07:17:51.812" v="22" actId="313"/>
          <ac:spMkLst>
            <pc:docMk/>
            <pc:sldMk cId="2755439003" sldId="2165"/>
            <ac:spMk id="36" creationId="{DEACEA99-9E9A-408A-9277-86EFC1C60A69}"/>
          </ac:spMkLst>
        </pc:spChg>
      </pc:sldChg>
      <pc:sldChg chg="modSp mod">
        <pc:chgData name="Aurelien Domont" userId="6da7715ce44349b3" providerId="LiveId" clId="{95A5D03F-8C3E-488A-9075-66D9938CC4B2}" dt="2021-05-11T07:18:06.246" v="26" actId="313"/>
        <pc:sldMkLst>
          <pc:docMk/>
          <pc:sldMk cId="1411304364" sldId="2166"/>
        </pc:sldMkLst>
        <pc:spChg chg="mod">
          <ac:chgData name="Aurelien Domont" userId="6da7715ce44349b3" providerId="LiveId" clId="{95A5D03F-8C3E-488A-9075-66D9938CC4B2}" dt="2021-05-11T07:18:05.473" v="25" actId="313"/>
          <ac:spMkLst>
            <pc:docMk/>
            <pc:sldMk cId="1411304364" sldId="2166"/>
            <ac:spMk id="35" creationId="{1BC3B263-81C3-42AD-96C7-45AB7FFD0557}"/>
          </ac:spMkLst>
        </pc:spChg>
        <pc:spChg chg="mod">
          <ac:chgData name="Aurelien Domont" userId="6da7715ce44349b3" providerId="LiveId" clId="{95A5D03F-8C3E-488A-9075-66D9938CC4B2}" dt="2021-05-11T07:18:06.246" v="26" actId="313"/>
          <ac:spMkLst>
            <pc:docMk/>
            <pc:sldMk cId="1411304364" sldId="2166"/>
            <ac:spMk id="36" creationId="{DEACEA99-9E9A-408A-9277-86EFC1C60A69}"/>
          </ac:spMkLst>
        </pc:spChg>
      </pc:sldChg>
      <pc:sldChg chg="modSp mod">
        <pc:chgData name="Aurelien Domont" userId="6da7715ce44349b3" providerId="LiveId" clId="{95A5D03F-8C3E-488A-9075-66D9938CC4B2}" dt="2021-05-11T07:18:07.619" v="28" actId="313"/>
        <pc:sldMkLst>
          <pc:docMk/>
          <pc:sldMk cId="3447837117" sldId="2167"/>
        </pc:sldMkLst>
        <pc:spChg chg="mod">
          <ac:chgData name="Aurelien Domont" userId="6da7715ce44349b3" providerId="LiveId" clId="{95A5D03F-8C3E-488A-9075-66D9938CC4B2}" dt="2021-05-11T07:18:06.989" v="27" actId="313"/>
          <ac:spMkLst>
            <pc:docMk/>
            <pc:sldMk cId="3447837117" sldId="2167"/>
            <ac:spMk id="35" creationId="{1BC3B263-81C3-42AD-96C7-45AB7FFD0557}"/>
          </ac:spMkLst>
        </pc:spChg>
        <pc:spChg chg="mod">
          <ac:chgData name="Aurelien Domont" userId="6da7715ce44349b3" providerId="LiveId" clId="{95A5D03F-8C3E-488A-9075-66D9938CC4B2}" dt="2021-05-11T07:18:07.619" v="28" actId="313"/>
          <ac:spMkLst>
            <pc:docMk/>
            <pc:sldMk cId="3447837117" sldId="2167"/>
            <ac:spMk id="36" creationId="{DEACEA99-9E9A-408A-9277-86EFC1C60A69}"/>
          </ac:spMkLst>
        </pc:spChg>
      </pc:sldChg>
      <pc:sldChg chg="addSp modSp new del mod">
        <pc:chgData name="Aurelien Domont" userId="6da7715ce44349b3" providerId="LiveId" clId="{95A5D03F-8C3E-488A-9075-66D9938CC4B2}" dt="2021-05-11T06:29:22.320" v="8" actId="47"/>
        <pc:sldMkLst>
          <pc:docMk/>
          <pc:sldMk cId="3498884146" sldId="2168"/>
        </pc:sldMkLst>
        <pc:spChg chg="add mod">
          <ac:chgData name="Aurelien Domont" userId="6da7715ce44349b3" providerId="LiveId" clId="{95A5D03F-8C3E-488A-9075-66D9938CC4B2}" dt="2021-05-11T06:13:56.523" v="5" actId="207"/>
          <ac:spMkLst>
            <pc:docMk/>
            <pc:sldMk cId="3498884146" sldId="2168"/>
            <ac:spMk id="2" creationId="{F29552E5-A0A3-4FEF-855F-A70B7DD3E658}"/>
          </ac:spMkLst>
        </pc:spChg>
        <pc:spChg chg="add mod">
          <ac:chgData name="Aurelien Domont" userId="6da7715ce44349b3" providerId="LiveId" clId="{95A5D03F-8C3E-488A-9075-66D9938CC4B2}" dt="2021-05-11T06:14:15.086" v="7" actId="12"/>
          <ac:spMkLst>
            <pc:docMk/>
            <pc:sldMk cId="3498884146" sldId="2168"/>
            <ac:spMk id="3" creationId="{C66A05AB-D06F-423B-ACEE-64AA9A0312A9}"/>
          </ac:spMkLst>
        </pc:spChg>
      </pc:sldChg>
      <pc:sldMasterChg chg="delSldLayout">
        <pc:chgData name="Aurelien Domont" userId="6da7715ce44349b3" providerId="LiveId" clId="{95A5D03F-8C3E-488A-9075-66D9938CC4B2}" dt="2021-05-11T06:29:22.320" v="8" actId="47"/>
        <pc:sldMasterMkLst>
          <pc:docMk/>
          <pc:sldMasterMk cId="3968369402" sldId="2147483674"/>
        </pc:sldMasterMkLst>
        <pc:sldLayoutChg chg="del">
          <pc:chgData name="Aurelien Domont" userId="6da7715ce44349b3" providerId="LiveId" clId="{95A5D03F-8C3E-488A-9075-66D9938CC4B2}" dt="2021-05-11T06:29:22.320" v="8" actId="47"/>
          <pc:sldLayoutMkLst>
            <pc:docMk/>
            <pc:sldMasterMk cId="3968369402" sldId="2147483674"/>
            <pc:sldLayoutMk cId="1283480410" sldId="2147483682"/>
          </pc:sldLayoutMkLst>
        </pc:sldLayoutChg>
      </pc:sldMaster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06F4701A-A56B-427A-99FA-7D1548ED9EAA}"/>
    <pc:docChg chg="undo custSel addSld delSld modSld sldOrd">
      <pc:chgData name="Aurelien Domont" userId="6da7715ce44349b3" providerId="LiveId" clId="{06F4701A-A56B-427A-99FA-7D1548ED9EAA}" dt="2021-05-04T04:05:51.007" v="333" actId="20577"/>
      <pc:docMkLst>
        <pc:docMk/>
      </pc:docMkLst>
      <pc:sldChg chg="modSp mod">
        <pc:chgData name="Aurelien Domont" userId="6da7715ce44349b3" providerId="LiveId" clId="{06F4701A-A56B-427A-99FA-7D1548ED9EAA}" dt="2021-05-04T03:34:41.051" v="0" actId="20577"/>
        <pc:sldMkLst>
          <pc:docMk/>
          <pc:sldMk cId="3131901387" sldId="256"/>
        </pc:sldMkLst>
        <pc:spChg chg="mod">
          <ac:chgData name="Aurelien Domont" userId="6da7715ce44349b3" providerId="LiveId" clId="{06F4701A-A56B-427A-99FA-7D1548ED9EAA}" dt="2021-05-04T03:34:41.051" v="0" actId="20577"/>
          <ac:spMkLst>
            <pc:docMk/>
            <pc:sldMk cId="3131901387" sldId="256"/>
            <ac:spMk id="2" creationId="{5261080C-C60C-4746-B6B1-A9A4FFA86785}"/>
          </ac:spMkLst>
        </pc:spChg>
      </pc:sldChg>
      <pc:sldChg chg="del">
        <pc:chgData name="Aurelien Domont" userId="6da7715ce44349b3" providerId="LiveId" clId="{06F4701A-A56B-427A-99FA-7D1548ED9EAA}" dt="2021-05-04T03:34:58.707" v="1" actId="47"/>
        <pc:sldMkLst>
          <pc:docMk/>
          <pc:sldMk cId="317099162" sldId="1749"/>
        </pc:sldMkLst>
      </pc:sldChg>
      <pc:sldChg chg="del">
        <pc:chgData name="Aurelien Domont" userId="6da7715ce44349b3" providerId="LiveId" clId="{06F4701A-A56B-427A-99FA-7D1548ED9EAA}" dt="2021-05-04T03:34:58.707" v="1" actId="47"/>
        <pc:sldMkLst>
          <pc:docMk/>
          <pc:sldMk cId="3324303879" sldId="1917"/>
        </pc:sldMkLst>
      </pc:sldChg>
      <pc:sldChg chg="del">
        <pc:chgData name="Aurelien Domont" userId="6da7715ce44349b3" providerId="LiveId" clId="{06F4701A-A56B-427A-99FA-7D1548ED9EAA}" dt="2021-05-04T03:34:58.707" v="1" actId="47"/>
        <pc:sldMkLst>
          <pc:docMk/>
          <pc:sldMk cId="3738554192" sldId="1918"/>
        </pc:sldMkLst>
      </pc:sldChg>
      <pc:sldChg chg="del">
        <pc:chgData name="Aurelien Domont" userId="6da7715ce44349b3" providerId="LiveId" clId="{06F4701A-A56B-427A-99FA-7D1548ED9EAA}" dt="2021-05-04T03:34:58.707" v="1" actId="47"/>
        <pc:sldMkLst>
          <pc:docMk/>
          <pc:sldMk cId="4287792945" sldId="1919"/>
        </pc:sldMkLst>
      </pc:sldChg>
      <pc:sldChg chg="del">
        <pc:chgData name="Aurelien Domont" userId="6da7715ce44349b3" providerId="LiveId" clId="{06F4701A-A56B-427A-99FA-7D1548ED9EAA}" dt="2021-05-04T03:34:58.707" v="1" actId="47"/>
        <pc:sldMkLst>
          <pc:docMk/>
          <pc:sldMk cId="1711813648" sldId="1920"/>
        </pc:sldMkLst>
      </pc:sldChg>
      <pc:sldChg chg="del">
        <pc:chgData name="Aurelien Domont" userId="6da7715ce44349b3" providerId="LiveId" clId="{06F4701A-A56B-427A-99FA-7D1548ED9EAA}" dt="2021-05-04T03:34:58.707" v="1" actId="47"/>
        <pc:sldMkLst>
          <pc:docMk/>
          <pc:sldMk cId="1649006803" sldId="1921"/>
        </pc:sldMkLst>
      </pc:sldChg>
      <pc:sldChg chg="del">
        <pc:chgData name="Aurelien Domont" userId="6da7715ce44349b3" providerId="LiveId" clId="{06F4701A-A56B-427A-99FA-7D1548ED9EAA}" dt="2021-05-04T03:34:58.707" v="1" actId="47"/>
        <pc:sldMkLst>
          <pc:docMk/>
          <pc:sldMk cId="3022188194" sldId="1922"/>
        </pc:sldMkLst>
      </pc:sldChg>
      <pc:sldChg chg="del">
        <pc:chgData name="Aurelien Domont" userId="6da7715ce44349b3" providerId="LiveId" clId="{06F4701A-A56B-427A-99FA-7D1548ED9EAA}" dt="2021-05-04T03:34:58.707" v="1" actId="47"/>
        <pc:sldMkLst>
          <pc:docMk/>
          <pc:sldMk cId="1872329668" sldId="1923"/>
        </pc:sldMkLst>
      </pc:sldChg>
      <pc:sldChg chg="addSp delSp modSp add del mod">
        <pc:chgData name="Aurelien Domont" userId="6da7715ce44349b3" providerId="LiveId" clId="{06F4701A-A56B-427A-99FA-7D1548ED9EAA}" dt="2021-05-04T04:03:14.661" v="326" actId="20577"/>
        <pc:sldMkLst>
          <pc:docMk/>
          <pc:sldMk cId="1659127470" sldId="1924"/>
        </pc:sldMkLst>
        <pc:spChg chg="del">
          <ac:chgData name="Aurelien Domont" userId="6da7715ce44349b3" providerId="LiveId" clId="{06F4701A-A56B-427A-99FA-7D1548ED9EAA}" dt="2021-05-04T03:35:52.627" v="3" actId="478"/>
          <ac:spMkLst>
            <pc:docMk/>
            <pc:sldMk cId="1659127470" sldId="1924"/>
            <ac:spMk id="2" creationId="{47EAB931-197A-40BB-B426-D6D65C61BAA2}"/>
          </ac:spMkLst>
        </pc:spChg>
        <pc:spChg chg="add">
          <ac:chgData name="Aurelien Domont" userId="6da7715ce44349b3" providerId="LiveId" clId="{06F4701A-A56B-427A-99FA-7D1548ED9EAA}" dt="2021-05-04T04:03:07.431" v="325" actId="11529"/>
          <ac:spMkLst>
            <pc:docMk/>
            <pc:sldMk cId="1659127470" sldId="1924"/>
            <ac:spMk id="5" creationId="{91206A1C-4398-49D5-B631-7CF32C406825}"/>
          </ac:spMkLst>
        </pc:spChg>
        <pc:spChg chg="mod">
          <ac:chgData name="Aurelien Domont" userId="6da7715ce44349b3" providerId="LiveId" clId="{06F4701A-A56B-427A-99FA-7D1548ED9EAA}" dt="2021-05-04T03:37:45.763" v="97" actId="207"/>
          <ac:spMkLst>
            <pc:docMk/>
            <pc:sldMk cId="1659127470" sldId="1924"/>
            <ac:spMk id="14" creationId="{493F826D-CCF6-440C-BFA4-C3799A3ED755}"/>
          </ac:spMkLst>
        </pc:spChg>
        <pc:spChg chg="add del">
          <ac:chgData name="Aurelien Domont" userId="6da7715ce44349b3" providerId="LiveId" clId="{06F4701A-A56B-427A-99FA-7D1548ED9EAA}" dt="2021-05-04T03:36:55.784" v="45" actId="22"/>
          <ac:spMkLst>
            <pc:docMk/>
            <pc:sldMk cId="1659127470" sldId="1924"/>
            <ac:spMk id="15" creationId="{A61EAB04-86F5-4CAF-8C51-E144E3BB787D}"/>
          </ac:spMkLst>
        </pc:spChg>
        <pc:spChg chg="mod">
          <ac:chgData name="Aurelien Domont" userId="6da7715ce44349b3" providerId="LiveId" clId="{06F4701A-A56B-427A-99FA-7D1548ED9EAA}" dt="2021-05-04T03:41:20.273" v="235" actId="20577"/>
          <ac:spMkLst>
            <pc:docMk/>
            <pc:sldMk cId="1659127470" sldId="1924"/>
            <ac:spMk id="16" creationId="{6C2BB713-9637-4B9B-938F-E9768876782A}"/>
          </ac:spMkLst>
        </pc:spChg>
        <pc:spChg chg="add del mod ord">
          <ac:chgData name="Aurelien Domont" userId="6da7715ce44349b3" providerId="LiveId" clId="{06F4701A-A56B-427A-99FA-7D1548ED9EAA}" dt="2021-05-04T03:41:41.188" v="239" actId="478"/>
          <ac:spMkLst>
            <pc:docMk/>
            <pc:sldMk cId="1659127470" sldId="1924"/>
            <ac:spMk id="17" creationId="{D44379F1-7C74-45D3-A456-E2945AF9425E}"/>
          </ac:spMkLst>
        </pc:spChg>
        <pc:spChg chg="mod">
          <ac:chgData name="Aurelien Domont" userId="6da7715ce44349b3" providerId="LiveId" clId="{06F4701A-A56B-427A-99FA-7D1548ED9EAA}" dt="2021-05-04T04:03:14.661" v="326" actId="20577"/>
          <ac:spMkLst>
            <pc:docMk/>
            <pc:sldMk cId="1659127470" sldId="1924"/>
            <ac:spMk id="34" creationId="{E2BDE0B8-90AF-4DE7-A71B-FE78ADE30B55}"/>
          </ac:spMkLst>
        </pc:spChg>
      </pc:sldChg>
      <pc:sldChg chg="del">
        <pc:chgData name="Aurelien Domont" userId="6da7715ce44349b3" providerId="LiveId" clId="{06F4701A-A56B-427A-99FA-7D1548ED9EAA}" dt="2021-05-04T03:39:52.545" v="200" actId="47"/>
        <pc:sldMkLst>
          <pc:docMk/>
          <pc:sldMk cId="1874123290" sldId="1926"/>
        </pc:sldMkLst>
      </pc:sldChg>
      <pc:sldChg chg="del">
        <pc:chgData name="Aurelien Domont" userId="6da7715ce44349b3" providerId="LiveId" clId="{06F4701A-A56B-427A-99FA-7D1548ED9EAA}" dt="2021-05-04T03:46:59.914" v="321" actId="47"/>
        <pc:sldMkLst>
          <pc:docMk/>
          <pc:sldMk cId="1374159068" sldId="1928"/>
        </pc:sldMkLst>
      </pc:sldChg>
      <pc:sldChg chg="modSp mod ord">
        <pc:chgData name="Aurelien Domont" userId="6da7715ce44349b3" providerId="LiveId" clId="{06F4701A-A56B-427A-99FA-7D1548ED9EAA}" dt="2021-05-04T04:00:24.453" v="324"/>
        <pc:sldMkLst>
          <pc:docMk/>
          <pc:sldMk cId="802743741" sldId="1929"/>
        </pc:sldMkLst>
        <pc:spChg chg="mod">
          <ac:chgData name="Aurelien Domont" userId="6da7715ce44349b3" providerId="LiveId" clId="{06F4701A-A56B-427A-99FA-7D1548ED9EAA}" dt="2021-05-04T03:47:12.880" v="322" actId="33524"/>
          <ac:spMkLst>
            <pc:docMk/>
            <pc:sldMk cId="802743741" sldId="1929"/>
            <ac:spMk id="16" creationId="{6C2BB713-9637-4B9B-938F-E9768876782A}"/>
          </ac:spMkLst>
        </pc:spChg>
      </pc:sldChg>
      <pc:sldChg chg="del">
        <pc:chgData name="Aurelien Domont" userId="6da7715ce44349b3" providerId="LiveId" clId="{06F4701A-A56B-427A-99FA-7D1548ED9EAA}" dt="2021-05-04T03:39:51.864" v="199" actId="47"/>
        <pc:sldMkLst>
          <pc:docMk/>
          <pc:sldMk cId="3518638678" sldId="2030"/>
        </pc:sldMkLst>
      </pc:sldChg>
      <pc:sldChg chg="modSp add mod">
        <pc:chgData name="Aurelien Domont" userId="6da7715ce44349b3" providerId="LiveId" clId="{06F4701A-A56B-427A-99FA-7D1548ED9EAA}" dt="2021-05-04T04:05:51.007" v="333" actId="20577"/>
        <pc:sldMkLst>
          <pc:docMk/>
          <pc:sldMk cId="3963700937" sldId="2030"/>
        </pc:sldMkLst>
        <pc:spChg chg="mod">
          <ac:chgData name="Aurelien Domont" userId="6da7715ce44349b3" providerId="LiveId" clId="{06F4701A-A56B-427A-99FA-7D1548ED9EAA}" dt="2021-05-04T04:05:51.007" v="333" actId="20577"/>
          <ac:spMkLst>
            <pc:docMk/>
            <pc:sldMk cId="3963700937" sldId="2030"/>
            <ac:spMk id="16" creationId="{6C2BB713-9637-4B9B-938F-E9768876782A}"/>
          </ac:spMkLst>
        </pc:spChg>
        <pc:spChg chg="mod">
          <ac:chgData name="Aurelien Domont" userId="6da7715ce44349b3" providerId="LiveId" clId="{06F4701A-A56B-427A-99FA-7D1548ED9EAA}" dt="2021-05-04T03:41:48.762" v="240" actId="14100"/>
          <ac:spMkLst>
            <pc:docMk/>
            <pc:sldMk cId="3963700937" sldId="2030"/>
            <ac:spMk id="17" creationId="{D44379F1-7C74-45D3-A456-E2945AF9425E}"/>
          </ac:spMkLst>
        </pc:spChg>
        <pc:spChg chg="mod">
          <ac:chgData name="Aurelien Domont" userId="6da7715ce44349b3" providerId="LiveId" clId="{06F4701A-A56B-427A-99FA-7D1548ED9EAA}" dt="2021-05-04T04:03:26.388" v="327"/>
          <ac:spMkLst>
            <pc:docMk/>
            <pc:sldMk cId="3963700937" sldId="2030"/>
            <ac:spMk id="34" creationId="{E2BDE0B8-90AF-4DE7-A71B-FE78ADE30B55}"/>
          </ac:spMkLst>
        </pc:spChg>
      </pc:sldChg>
      <pc:sldChg chg="modSp add mod">
        <pc:chgData name="Aurelien Domont" userId="6da7715ce44349b3" providerId="LiveId" clId="{06F4701A-A56B-427A-99FA-7D1548ED9EAA}" dt="2021-05-04T04:05:12.282" v="331" actId="20577"/>
        <pc:sldMkLst>
          <pc:docMk/>
          <pc:sldMk cId="3382533371" sldId="2031"/>
        </pc:sldMkLst>
        <pc:spChg chg="mod">
          <ac:chgData name="Aurelien Domont" userId="6da7715ce44349b3" providerId="LiveId" clId="{06F4701A-A56B-427A-99FA-7D1548ED9EAA}" dt="2021-05-04T04:05:12.282" v="331" actId="20577"/>
          <ac:spMkLst>
            <pc:docMk/>
            <pc:sldMk cId="3382533371" sldId="2031"/>
            <ac:spMk id="16" creationId="{6C2BB713-9637-4B9B-938F-E9768876782A}"/>
          </ac:spMkLst>
        </pc:spChg>
        <pc:spChg chg="mod">
          <ac:chgData name="Aurelien Domont" userId="6da7715ce44349b3" providerId="LiveId" clId="{06F4701A-A56B-427A-99FA-7D1548ED9EAA}" dt="2021-05-04T03:46:56.662" v="320" actId="14100"/>
          <ac:spMkLst>
            <pc:docMk/>
            <pc:sldMk cId="3382533371" sldId="2031"/>
            <ac:spMk id="17" creationId="{D44379F1-7C74-45D3-A456-E2945AF9425E}"/>
          </ac:spMkLst>
        </pc:spChg>
        <pc:spChg chg="mod">
          <ac:chgData name="Aurelien Domont" userId="6da7715ce44349b3" providerId="LiveId" clId="{06F4701A-A56B-427A-99FA-7D1548ED9EAA}" dt="2021-05-04T04:03:29.628" v="328"/>
          <ac:spMkLst>
            <pc:docMk/>
            <pc:sldMk cId="3382533371" sldId="2031"/>
            <ac:spMk id="34" creationId="{E2BDE0B8-90AF-4DE7-A71B-FE78ADE30B55}"/>
          </ac:spMkLst>
        </pc:spChg>
      </pc:sldChg>
      <pc:sldChg chg="del">
        <pc:chgData name="Aurelien Domont" userId="6da7715ce44349b3" providerId="LiveId" clId="{06F4701A-A56B-427A-99FA-7D1548ED9EAA}" dt="2021-05-04T03:39:51.187" v="198" actId="47"/>
        <pc:sldMkLst>
          <pc:docMk/>
          <pc:sldMk cId="3867219056" sldId="2031"/>
        </pc:sldMkLst>
      </pc:sldChg>
      <pc:sldChg chg="del">
        <pc:chgData name="Aurelien Domont" userId="6da7715ce44349b3" providerId="LiveId" clId="{06F4701A-A56B-427A-99FA-7D1548ED9EAA}" dt="2021-05-04T03:39:50.393" v="197" actId="47"/>
        <pc:sldMkLst>
          <pc:docMk/>
          <pc:sldMk cId="2964978532" sldId="2032"/>
        </pc:sldMkLst>
      </pc:sldChg>
      <pc:sldChg chg="addSp new mod">
        <pc:chgData name="Aurelien Domont" userId="6da7715ce44349b3" providerId="LiveId" clId="{06F4701A-A56B-427A-99FA-7D1548ED9EAA}" dt="2021-05-04T03:44:55.584" v="299" actId="11529"/>
        <pc:sldMkLst>
          <pc:docMk/>
          <pc:sldMk cId="3094586799" sldId="2032"/>
        </pc:sldMkLst>
        <pc:spChg chg="add">
          <ac:chgData name="Aurelien Domont" userId="6da7715ce44349b3" providerId="LiveId" clId="{06F4701A-A56B-427A-99FA-7D1548ED9EAA}" dt="2021-05-04T03:44:55.584" v="299" actId="11529"/>
          <ac:spMkLst>
            <pc:docMk/>
            <pc:sldMk cId="3094586799" sldId="2032"/>
            <ac:spMk id="3" creationId="{CF6D9220-0D8F-4106-AF2E-69B0BE511068}"/>
          </ac:spMkLst>
        </pc:spChg>
      </pc:sldChg>
      <pc:sldChg chg="modSp add del mod">
        <pc:chgData name="Aurelien Domont" userId="6da7715ce44349b3" providerId="LiveId" clId="{06F4701A-A56B-427A-99FA-7D1548ED9EAA}" dt="2021-05-04T03:39:48.891" v="196" actId="47"/>
        <pc:sldMkLst>
          <pc:docMk/>
          <pc:sldMk cId="809941893" sldId="2033"/>
        </pc:sldMkLst>
        <pc:spChg chg="mod">
          <ac:chgData name="Aurelien Domont" userId="6da7715ce44349b3" providerId="LiveId" clId="{06F4701A-A56B-427A-99FA-7D1548ED9EAA}" dt="2021-05-04T03:36:11.720" v="43" actId="20577"/>
          <ac:spMkLst>
            <pc:docMk/>
            <pc:sldMk cId="809941893" sldId="2033"/>
            <ac:spMk id="16" creationId="{6C2BB713-9637-4B9B-938F-E9768876782A}"/>
          </ac:spMkLst>
        </pc:spChg>
      </pc:sldChg>
      <pc:sldChg chg="add del">
        <pc:chgData name="Aurelien Domont" userId="6da7715ce44349b3" providerId="LiveId" clId="{06F4701A-A56B-427A-99FA-7D1548ED9EAA}" dt="2021-05-04T03:46:48.497" v="301"/>
        <pc:sldMkLst>
          <pc:docMk/>
          <pc:sldMk cId="1675706064" sldId="2033"/>
        </pc:sldMkLst>
      </pc:sldChg>
      <pc:sldChg chg="del">
        <pc:chgData name="Aurelien Domont" userId="6da7715ce44349b3" providerId="LiveId" clId="{06F4701A-A56B-427A-99FA-7D1548ED9EAA}" dt="2021-05-04T03:34:58.707" v="1" actId="47"/>
        <pc:sldMkLst>
          <pc:docMk/>
          <pc:sldMk cId="1692242364" sldId="2033"/>
        </pc:sldMkLst>
      </pc:sldChg>
      <pc:sldChg chg="add">
        <pc:chgData name="Aurelien Domont" userId="6da7715ce44349b3" providerId="LiveId" clId="{06F4701A-A56B-427A-99FA-7D1548ED9EAA}" dt="2021-05-04T04:03:36.032" v="329"/>
        <pc:sldMkLst>
          <pc:docMk/>
          <pc:sldMk cId="2443640543" sldId="2033"/>
        </pc:sldMkLst>
      </pc:sldChg>
    </pc:docChg>
  </pc:docChgLst>
  <pc:docChgLst>
    <pc:chgData name="Aurelien Domont" userId="6da7715ce44349b3" providerId="LiveId" clId="{0C8DD60E-6B28-4885-88BC-A772E727CD52}"/>
    <pc:docChg chg="undo custSel addSld delSld modSld sldOrd">
      <pc:chgData name="Aurelien Domont" userId="6da7715ce44349b3" providerId="LiveId" clId="{0C8DD60E-6B28-4885-88BC-A772E727CD52}" dt="2021-05-04T06:07:58.626" v="1888" actId="20577"/>
      <pc:docMkLst>
        <pc:docMk/>
      </pc:docMkLst>
      <pc:sldChg chg="add del">
        <pc:chgData name="Aurelien Domont" userId="6da7715ce44349b3" providerId="LiveId" clId="{0C8DD60E-6B28-4885-88BC-A772E727CD52}" dt="2021-05-04T06:01:18.410" v="1857" actId="47"/>
        <pc:sldMkLst>
          <pc:docMk/>
          <pc:sldMk cId="3692499981" sldId="1597"/>
        </pc:sldMkLst>
      </pc:sldChg>
      <pc:sldChg chg="add del">
        <pc:chgData name="Aurelien Domont" userId="6da7715ce44349b3" providerId="LiveId" clId="{0C8DD60E-6B28-4885-88BC-A772E727CD52}" dt="2021-05-04T06:01:18.410" v="1857" actId="47"/>
        <pc:sldMkLst>
          <pc:docMk/>
          <pc:sldMk cId="1754585881" sldId="1598"/>
        </pc:sldMkLst>
      </pc:sldChg>
      <pc:sldChg chg="add del">
        <pc:chgData name="Aurelien Domont" userId="6da7715ce44349b3" providerId="LiveId" clId="{0C8DD60E-6B28-4885-88BC-A772E727CD52}" dt="2021-05-04T06:01:18.410" v="1857" actId="47"/>
        <pc:sldMkLst>
          <pc:docMk/>
          <pc:sldMk cId="748962572" sldId="1599"/>
        </pc:sldMkLst>
      </pc:sldChg>
      <pc:sldChg chg="add del">
        <pc:chgData name="Aurelien Domont" userId="6da7715ce44349b3" providerId="LiveId" clId="{0C8DD60E-6B28-4885-88BC-A772E727CD52}" dt="2021-05-04T06:01:18.410" v="1857" actId="47"/>
        <pc:sldMkLst>
          <pc:docMk/>
          <pc:sldMk cId="2853806433" sldId="1600"/>
        </pc:sldMkLst>
      </pc:sldChg>
      <pc:sldChg chg="ord">
        <pc:chgData name="Aurelien Domont" userId="6da7715ce44349b3" providerId="LiveId" clId="{0C8DD60E-6B28-4885-88BC-A772E727CD52}" dt="2021-05-04T06:00:20.660" v="1854"/>
        <pc:sldMkLst>
          <pc:docMk/>
          <pc:sldMk cId="4262757208" sldId="1792"/>
        </pc:sldMkLst>
      </pc:sldChg>
      <pc:sldChg chg="addSp delSp modSp mod ord">
        <pc:chgData name="Aurelien Domont" userId="6da7715ce44349b3" providerId="LiveId" clId="{0C8DD60E-6B28-4885-88BC-A772E727CD52}" dt="2021-05-04T06:00:20.660" v="1854"/>
        <pc:sldMkLst>
          <pc:docMk/>
          <pc:sldMk cId="504490806" sldId="1796"/>
        </pc:sldMkLst>
        <pc:spChg chg="mod">
          <ac:chgData name="Aurelien Domont" userId="6da7715ce44349b3" providerId="LiveId" clId="{0C8DD60E-6B28-4885-88BC-A772E727CD52}" dt="2021-05-04T05:56:56.701" v="1807"/>
          <ac:spMkLst>
            <pc:docMk/>
            <pc:sldMk cId="504490806" sldId="1796"/>
            <ac:spMk id="16" creationId="{6C2BB713-9637-4B9B-938F-E9768876782A}"/>
          </ac:spMkLst>
        </pc:spChg>
        <pc:spChg chg="mod">
          <ac:chgData name="Aurelien Domont" userId="6da7715ce44349b3" providerId="LiveId" clId="{0C8DD60E-6B28-4885-88BC-A772E727CD52}" dt="2021-05-04T05:57:11.775" v="1826" actId="1037"/>
          <ac:spMkLst>
            <pc:docMk/>
            <pc:sldMk cId="504490806" sldId="1796"/>
            <ac:spMk id="18" creationId="{9ADECD9A-B271-4DF6-8162-DA9C50D26EEE}"/>
          </ac:spMkLst>
        </pc:spChg>
        <pc:spChg chg="mod">
          <ac:chgData name="Aurelien Domont" userId="6da7715ce44349b3" providerId="LiveId" clId="{0C8DD60E-6B28-4885-88BC-A772E727CD52}" dt="2021-05-04T05:57:11.775" v="1826" actId="1037"/>
          <ac:spMkLst>
            <pc:docMk/>
            <pc:sldMk cId="504490806" sldId="1796"/>
            <ac:spMk id="19" creationId="{4AD4B22A-3012-4F90-A25D-BFAD08973595}"/>
          </ac:spMkLst>
        </pc:spChg>
        <pc:spChg chg="mod">
          <ac:chgData name="Aurelien Domont" userId="6da7715ce44349b3" providerId="LiveId" clId="{0C8DD60E-6B28-4885-88BC-A772E727CD52}" dt="2021-05-04T05:57:11.775" v="1826" actId="1037"/>
          <ac:spMkLst>
            <pc:docMk/>
            <pc:sldMk cId="504490806" sldId="1796"/>
            <ac:spMk id="20" creationId="{85E2A440-E4C0-439F-A9B9-4E1A90E5C2B0}"/>
          </ac:spMkLst>
        </pc:spChg>
        <pc:spChg chg="mod">
          <ac:chgData name="Aurelien Domont" userId="6da7715ce44349b3" providerId="LiveId" clId="{0C8DD60E-6B28-4885-88BC-A772E727CD52}" dt="2021-05-04T05:57:11.775" v="1826" actId="1037"/>
          <ac:spMkLst>
            <pc:docMk/>
            <pc:sldMk cId="504490806" sldId="1796"/>
            <ac:spMk id="21" creationId="{A7CFB53C-979D-4013-BC8D-887030B50F78}"/>
          </ac:spMkLst>
        </pc:spChg>
        <pc:spChg chg="mod">
          <ac:chgData name="Aurelien Domont" userId="6da7715ce44349b3" providerId="LiveId" clId="{0C8DD60E-6B28-4885-88BC-A772E727CD52}" dt="2021-05-04T05:57:11.775" v="1826" actId="1037"/>
          <ac:spMkLst>
            <pc:docMk/>
            <pc:sldMk cId="504490806" sldId="1796"/>
            <ac:spMk id="22" creationId="{950BAF9D-4048-4C0A-9264-EB984287FAF1}"/>
          </ac:spMkLst>
        </pc:spChg>
        <pc:spChg chg="mod">
          <ac:chgData name="Aurelien Domont" userId="6da7715ce44349b3" providerId="LiveId" clId="{0C8DD60E-6B28-4885-88BC-A772E727CD52}" dt="2021-05-04T05:57:11.775" v="1826" actId="1037"/>
          <ac:spMkLst>
            <pc:docMk/>
            <pc:sldMk cId="504490806" sldId="1796"/>
            <ac:spMk id="23" creationId="{72311B61-89C6-430E-9F91-AFF4EF4AFBC3}"/>
          </ac:spMkLst>
        </pc:spChg>
        <pc:spChg chg="mod">
          <ac:chgData name="Aurelien Domont" userId="6da7715ce44349b3" providerId="LiveId" clId="{0C8DD60E-6B28-4885-88BC-A772E727CD52}" dt="2021-05-04T05:57:11.775" v="1826" actId="1037"/>
          <ac:spMkLst>
            <pc:docMk/>
            <pc:sldMk cId="504490806" sldId="1796"/>
            <ac:spMk id="24" creationId="{493F8E47-D954-40A2-BC66-36552BDEC999}"/>
          </ac:spMkLst>
        </pc:spChg>
        <pc:spChg chg="mod">
          <ac:chgData name="Aurelien Domont" userId="6da7715ce44349b3" providerId="LiveId" clId="{0C8DD60E-6B28-4885-88BC-A772E727CD52}" dt="2021-05-04T05:57:11.775" v="1826" actId="1037"/>
          <ac:spMkLst>
            <pc:docMk/>
            <pc:sldMk cId="504490806" sldId="1796"/>
            <ac:spMk id="25" creationId="{7F61B825-2CDE-4FB7-B1E2-BD2D803C0EE6}"/>
          </ac:spMkLst>
        </pc:spChg>
        <pc:spChg chg="mod">
          <ac:chgData name="Aurelien Domont" userId="6da7715ce44349b3" providerId="LiveId" clId="{0C8DD60E-6B28-4885-88BC-A772E727CD52}" dt="2021-05-04T05:57:11.775" v="1826" actId="1037"/>
          <ac:spMkLst>
            <pc:docMk/>
            <pc:sldMk cId="504490806" sldId="1796"/>
            <ac:spMk id="26" creationId="{713E82D0-2682-48DF-BB79-867E940C5D3D}"/>
          </ac:spMkLst>
        </pc:spChg>
        <pc:spChg chg="mod">
          <ac:chgData name="Aurelien Domont" userId="6da7715ce44349b3" providerId="LiveId" clId="{0C8DD60E-6B28-4885-88BC-A772E727CD52}" dt="2021-05-04T05:57:11.775" v="1826" actId="1037"/>
          <ac:spMkLst>
            <pc:docMk/>
            <pc:sldMk cId="504490806" sldId="1796"/>
            <ac:spMk id="27" creationId="{9C693705-92F4-4E40-9C7C-FC332031176A}"/>
          </ac:spMkLst>
        </pc:spChg>
        <pc:spChg chg="del">
          <ac:chgData name="Aurelien Domont" userId="6da7715ce44349b3" providerId="LiveId" clId="{0C8DD60E-6B28-4885-88BC-A772E727CD52}" dt="2021-05-04T05:57:01.413" v="1809" actId="478"/>
          <ac:spMkLst>
            <pc:docMk/>
            <pc:sldMk cId="504490806" sldId="1796"/>
            <ac:spMk id="28" creationId="{646159D3-2D91-48A1-8103-CBD5D5C3F00B}"/>
          </ac:spMkLst>
        </pc:spChg>
        <pc:spChg chg="mod">
          <ac:chgData name="Aurelien Domont" userId="6da7715ce44349b3" providerId="LiveId" clId="{0C8DD60E-6B28-4885-88BC-A772E727CD52}" dt="2021-05-04T05:57:25.473" v="1827"/>
          <ac:spMkLst>
            <pc:docMk/>
            <pc:sldMk cId="504490806" sldId="1796"/>
            <ac:spMk id="30" creationId="{065FEBE8-7429-4A9D-BD95-F66604FF7092}"/>
          </ac:spMkLst>
        </pc:spChg>
        <pc:spChg chg="mod">
          <ac:chgData name="Aurelien Domont" userId="6da7715ce44349b3" providerId="LiveId" clId="{0C8DD60E-6B28-4885-88BC-A772E727CD52}" dt="2021-05-04T05:57:25.473" v="1827"/>
          <ac:spMkLst>
            <pc:docMk/>
            <pc:sldMk cId="504490806" sldId="1796"/>
            <ac:spMk id="31" creationId="{360E475C-A2D5-40D8-ACEF-532D31943E33}"/>
          </ac:spMkLst>
        </pc:spChg>
        <pc:spChg chg="mod">
          <ac:chgData name="Aurelien Domont" userId="6da7715ce44349b3" providerId="LiveId" clId="{0C8DD60E-6B28-4885-88BC-A772E727CD52}" dt="2021-05-04T05:57:39.854" v="1830"/>
          <ac:spMkLst>
            <pc:docMk/>
            <pc:sldMk cId="504490806" sldId="1796"/>
            <ac:spMk id="38" creationId="{770D2CDB-7313-4B75-B436-5867D0BD6FD0}"/>
          </ac:spMkLst>
        </pc:spChg>
        <pc:spChg chg="mod">
          <ac:chgData name="Aurelien Domont" userId="6da7715ce44349b3" providerId="LiveId" clId="{0C8DD60E-6B28-4885-88BC-A772E727CD52}" dt="2021-05-04T05:57:39.854" v="1830"/>
          <ac:spMkLst>
            <pc:docMk/>
            <pc:sldMk cId="504490806" sldId="1796"/>
            <ac:spMk id="39" creationId="{64001B44-BFF1-4EB4-B3BD-C8220196A864}"/>
          </ac:spMkLst>
        </pc:spChg>
        <pc:grpChg chg="add del mod">
          <ac:chgData name="Aurelien Domont" userId="6da7715ce44349b3" providerId="LiveId" clId="{0C8DD60E-6B28-4885-88BC-A772E727CD52}" dt="2021-05-04T05:57:29.348" v="1829" actId="21"/>
          <ac:grpSpMkLst>
            <pc:docMk/>
            <pc:sldMk cId="504490806" sldId="1796"/>
            <ac:grpSpMk id="29" creationId="{6BFD8069-CDA2-4AB2-A35D-F96D672AEF4F}"/>
          </ac:grpSpMkLst>
        </pc:grpChg>
        <pc:grpChg chg="add mod">
          <ac:chgData name="Aurelien Domont" userId="6da7715ce44349b3" providerId="LiveId" clId="{0C8DD60E-6B28-4885-88BC-A772E727CD52}" dt="2021-05-04T05:57:45.168" v="1832" actId="1076"/>
          <ac:grpSpMkLst>
            <pc:docMk/>
            <pc:sldMk cId="504490806" sldId="1796"/>
            <ac:grpSpMk id="32" creationId="{BDD78021-9ECB-4DB7-8DC2-F99FC8254686}"/>
          </ac:grpSpMkLst>
        </pc:grpChg>
        <pc:grpChg chg="del">
          <ac:chgData name="Aurelien Domont" userId="6da7715ce44349b3" providerId="LiveId" clId="{0C8DD60E-6B28-4885-88BC-A772E727CD52}" dt="2021-05-04T05:56:59.759" v="1808" actId="478"/>
          <ac:grpSpMkLst>
            <pc:docMk/>
            <pc:sldMk cId="504490806" sldId="1796"/>
            <ac:grpSpMk id="33" creationId="{26F29068-4EF7-4272-A03E-548B97F45CA6}"/>
          </ac:grpSpMkLst>
        </pc:grpChg>
      </pc:sldChg>
      <pc:sldChg chg="add del">
        <pc:chgData name="Aurelien Domont" userId="6da7715ce44349b3" providerId="LiveId" clId="{0C8DD60E-6B28-4885-88BC-A772E727CD52}" dt="2021-05-04T06:01:18.410" v="1857" actId="47"/>
        <pc:sldMkLst>
          <pc:docMk/>
          <pc:sldMk cId="767058056" sldId="1797"/>
        </pc:sldMkLst>
      </pc:sldChg>
      <pc:sldChg chg="add del">
        <pc:chgData name="Aurelien Domont" userId="6da7715ce44349b3" providerId="LiveId" clId="{0C8DD60E-6B28-4885-88BC-A772E727CD52}" dt="2021-05-04T06:01:18.410" v="1857" actId="47"/>
        <pc:sldMkLst>
          <pc:docMk/>
          <pc:sldMk cId="713437184" sldId="1882"/>
        </pc:sldMkLst>
      </pc:sldChg>
      <pc:sldChg chg="add del">
        <pc:chgData name="Aurelien Domont" userId="6da7715ce44349b3" providerId="LiveId" clId="{0C8DD60E-6B28-4885-88BC-A772E727CD52}" dt="2021-05-04T06:01:18.410" v="1857" actId="47"/>
        <pc:sldMkLst>
          <pc:docMk/>
          <pc:sldMk cId="3792836084" sldId="1883"/>
        </pc:sldMkLst>
      </pc:sldChg>
      <pc:sldChg chg="add del">
        <pc:chgData name="Aurelien Domont" userId="6da7715ce44349b3" providerId="LiveId" clId="{0C8DD60E-6B28-4885-88BC-A772E727CD52}" dt="2021-05-04T06:01:18.410" v="1857" actId="47"/>
        <pc:sldMkLst>
          <pc:docMk/>
          <pc:sldMk cId="3227587685" sldId="1884"/>
        </pc:sldMkLst>
      </pc:sldChg>
      <pc:sldChg chg="add del">
        <pc:chgData name="Aurelien Domont" userId="6da7715ce44349b3" providerId="LiveId" clId="{0C8DD60E-6B28-4885-88BC-A772E727CD52}" dt="2021-05-04T06:01:18.410" v="1857" actId="47"/>
        <pc:sldMkLst>
          <pc:docMk/>
          <pc:sldMk cId="2820013767" sldId="1885"/>
        </pc:sldMkLst>
      </pc:sldChg>
      <pc:sldChg chg="add del">
        <pc:chgData name="Aurelien Domont" userId="6da7715ce44349b3" providerId="LiveId" clId="{0C8DD60E-6B28-4885-88BC-A772E727CD52}" dt="2021-05-04T06:01:18.410" v="1857" actId="47"/>
        <pc:sldMkLst>
          <pc:docMk/>
          <pc:sldMk cId="3287084427" sldId="1886"/>
        </pc:sldMkLst>
      </pc:sldChg>
      <pc:sldChg chg="add del">
        <pc:chgData name="Aurelien Domont" userId="6da7715ce44349b3" providerId="LiveId" clId="{0C8DD60E-6B28-4885-88BC-A772E727CD52}" dt="2021-05-04T06:01:18.410" v="1857" actId="47"/>
        <pc:sldMkLst>
          <pc:docMk/>
          <pc:sldMk cId="2955017529" sldId="1887"/>
        </pc:sldMkLst>
      </pc:sldChg>
      <pc:sldChg chg="add del">
        <pc:chgData name="Aurelien Domont" userId="6da7715ce44349b3" providerId="LiveId" clId="{0C8DD60E-6B28-4885-88BC-A772E727CD52}" dt="2021-05-04T06:01:18.410" v="1857" actId="47"/>
        <pc:sldMkLst>
          <pc:docMk/>
          <pc:sldMk cId="3064639401" sldId="1889"/>
        </pc:sldMkLst>
      </pc:sldChg>
      <pc:sldChg chg="add del">
        <pc:chgData name="Aurelien Domont" userId="6da7715ce44349b3" providerId="LiveId" clId="{0C8DD60E-6B28-4885-88BC-A772E727CD52}" dt="2021-05-04T06:01:18.410" v="1857" actId="47"/>
        <pc:sldMkLst>
          <pc:docMk/>
          <pc:sldMk cId="4203379594" sldId="1890"/>
        </pc:sldMkLst>
      </pc:sldChg>
      <pc:sldChg chg="add del">
        <pc:chgData name="Aurelien Domont" userId="6da7715ce44349b3" providerId="LiveId" clId="{0C8DD60E-6B28-4885-88BC-A772E727CD52}" dt="2021-05-04T06:01:18.410" v="1857" actId="47"/>
        <pc:sldMkLst>
          <pc:docMk/>
          <pc:sldMk cId="2239563003" sldId="1892"/>
        </pc:sldMkLst>
      </pc:sldChg>
      <pc:sldChg chg="add del">
        <pc:chgData name="Aurelien Domont" userId="6da7715ce44349b3" providerId="LiveId" clId="{0C8DD60E-6B28-4885-88BC-A772E727CD52}" dt="2021-05-04T06:01:18.410" v="1857" actId="47"/>
        <pc:sldMkLst>
          <pc:docMk/>
          <pc:sldMk cId="3677099460" sldId="1893"/>
        </pc:sldMkLst>
      </pc:sldChg>
      <pc:sldChg chg="modSp mod">
        <pc:chgData name="Aurelien Domont" userId="6da7715ce44349b3" providerId="LiveId" clId="{0C8DD60E-6B28-4885-88BC-A772E727CD52}" dt="2021-05-04T06:06:27.042" v="1887" actId="120"/>
        <pc:sldMkLst>
          <pc:docMk/>
          <pc:sldMk cId="1659127470" sldId="1924"/>
        </pc:sldMkLst>
        <pc:spChg chg="mod">
          <ac:chgData name="Aurelien Domont" userId="6da7715ce44349b3" providerId="LiveId" clId="{0C8DD60E-6B28-4885-88BC-A772E727CD52}" dt="2021-05-04T06:06:27.042" v="1887" actId="120"/>
          <ac:spMkLst>
            <pc:docMk/>
            <pc:sldMk cId="1659127470" sldId="1924"/>
            <ac:spMk id="14" creationId="{493F826D-CCF6-440C-BFA4-C3799A3ED755}"/>
          </ac:spMkLst>
        </pc:spChg>
        <pc:spChg chg="mod">
          <ac:chgData name="Aurelien Domont" userId="6da7715ce44349b3" providerId="LiveId" clId="{0C8DD60E-6B28-4885-88BC-A772E727CD52}" dt="2021-05-04T06:06:27.042" v="1887" actId="120"/>
          <ac:spMkLst>
            <pc:docMk/>
            <pc:sldMk cId="1659127470" sldId="1924"/>
            <ac:spMk id="18" creationId="{0BCD4164-FFCE-447D-8269-E5891A7FEF0D}"/>
          </ac:spMkLst>
        </pc:spChg>
        <pc:spChg chg="mod">
          <ac:chgData name="Aurelien Domont" userId="6da7715ce44349b3" providerId="LiveId" clId="{0C8DD60E-6B28-4885-88BC-A772E727CD52}" dt="2021-05-04T06:06:27.042" v="1887" actId="120"/>
          <ac:spMkLst>
            <pc:docMk/>
            <pc:sldMk cId="1659127470" sldId="1924"/>
            <ac:spMk id="19" creationId="{554EE1B4-E11D-4B37-9F78-B5B5FA8738AA}"/>
          </ac:spMkLst>
        </pc:spChg>
        <pc:spChg chg="mod">
          <ac:chgData name="Aurelien Domont" userId="6da7715ce44349b3" providerId="LiveId" clId="{0C8DD60E-6B28-4885-88BC-A772E727CD52}" dt="2021-05-04T06:04:21.125" v="1870" actId="20577"/>
          <ac:spMkLst>
            <pc:docMk/>
            <pc:sldMk cId="1659127470" sldId="1924"/>
            <ac:spMk id="34" creationId="{E2BDE0B8-90AF-4DE7-A71B-FE78ADE30B55}"/>
          </ac:spMkLst>
        </pc:spChg>
      </pc:sldChg>
      <pc:sldChg chg="delSp modSp mod ord">
        <pc:chgData name="Aurelien Domont" userId="6da7715ce44349b3" providerId="LiveId" clId="{0C8DD60E-6B28-4885-88BC-A772E727CD52}" dt="2021-05-04T05:11:26.493" v="931" actId="6549"/>
        <pc:sldMkLst>
          <pc:docMk/>
          <pc:sldMk cId="597933806" sldId="1925"/>
        </pc:sldMkLst>
        <pc:spChg chg="mod">
          <ac:chgData name="Aurelien Domont" userId="6da7715ce44349b3" providerId="LiveId" clId="{0C8DD60E-6B28-4885-88BC-A772E727CD52}" dt="2021-05-04T05:11:26.493" v="931" actId="6549"/>
          <ac:spMkLst>
            <pc:docMk/>
            <pc:sldMk cId="597933806" sldId="1925"/>
            <ac:spMk id="16" creationId="{6C2BB713-9637-4B9B-938F-E9768876782A}"/>
          </ac:spMkLst>
        </pc:spChg>
        <pc:grpChg chg="del">
          <ac:chgData name="Aurelien Domont" userId="6da7715ce44349b3" providerId="LiveId" clId="{0C8DD60E-6B28-4885-88BC-A772E727CD52}" dt="2021-05-04T05:10:18.087" v="898" actId="478"/>
          <ac:grpSpMkLst>
            <pc:docMk/>
            <pc:sldMk cId="597933806" sldId="1925"/>
            <ac:grpSpMk id="14" creationId="{8DC53829-2CA1-4DD3-99EE-AF6C3FDB20E0}"/>
          </ac:grpSpMkLst>
        </pc:grpChg>
      </pc:sldChg>
      <pc:sldChg chg="del">
        <pc:chgData name="Aurelien Domont" userId="6da7715ce44349b3" providerId="LiveId" clId="{0C8DD60E-6B28-4885-88BC-A772E727CD52}" dt="2021-05-04T04:35:37.097" v="0" actId="47"/>
        <pc:sldMkLst>
          <pc:docMk/>
          <pc:sldMk cId="235018652" sldId="1927"/>
        </pc:sldMkLst>
      </pc:sldChg>
      <pc:sldChg chg="addSp delSp modSp mod ord">
        <pc:chgData name="Aurelien Domont" userId="6da7715ce44349b3" providerId="LiveId" clId="{0C8DD60E-6B28-4885-88BC-A772E727CD52}" dt="2021-05-04T04:57:52.681" v="702"/>
        <pc:sldMkLst>
          <pc:docMk/>
          <pc:sldMk cId="802743741" sldId="1929"/>
        </pc:sldMkLst>
        <pc:spChg chg="add del mod">
          <ac:chgData name="Aurelien Domont" userId="6da7715ce44349b3" providerId="LiveId" clId="{0C8DD60E-6B28-4885-88BC-A772E727CD52}" dt="2021-05-04T04:46:43.504" v="401" actId="478"/>
          <ac:spMkLst>
            <pc:docMk/>
            <pc:sldMk cId="802743741" sldId="1929"/>
            <ac:spMk id="11" creationId="{D920ABB2-1085-4DDD-88A1-A401B22DF2CC}"/>
          </ac:spMkLst>
        </pc:spChg>
        <pc:spChg chg="add del mod">
          <ac:chgData name="Aurelien Domont" userId="6da7715ce44349b3" providerId="LiveId" clId="{0C8DD60E-6B28-4885-88BC-A772E727CD52}" dt="2021-05-04T04:46:43.504" v="401" actId="478"/>
          <ac:spMkLst>
            <pc:docMk/>
            <pc:sldMk cId="802743741" sldId="1929"/>
            <ac:spMk id="15" creationId="{B0D2B522-6DD2-4007-B8F9-2B1E91701A4D}"/>
          </ac:spMkLst>
        </pc:spChg>
        <pc:spChg chg="mod">
          <ac:chgData name="Aurelien Domont" userId="6da7715ce44349b3" providerId="LiveId" clId="{0C8DD60E-6B28-4885-88BC-A772E727CD52}" dt="2021-05-04T04:45:15.708" v="398" actId="20577"/>
          <ac:spMkLst>
            <pc:docMk/>
            <pc:sldMk cId="802743741" sldId="1929"/>
            <ac:spMk id="16" creationId="{6C2BB713-9637-4B9B-938F-E9768876782A}"/>
          </ac:spMkLst>
        </pc:spChg>
        <pc:spChg chg="add del mod">
          <ac:chgData name="Aurelien Domont" userId="6da7715ce44349b3" providerId="LiveId" clId="{0C8DD60E-6B28-4885-88BC-A772E727CD52}" dt="2021-05-04T04:46:43.504" v="401" actId="478"/>
          <ac:spMkLst>
            <pc:docMk/>
            <pc:sldMk cId="802743741" sldId="1929"/>
            <ac:spMk id="17" creationId="{33016BF4-E1FB-46A3-BDF7-DB9F7C5AB11B}"/>
          </ac:spMkLst>
        </pc:spChg>
        <pc:spChg chg="add del mod">
          <ac:chgData name="Aurelien Domont" userId="6da7715ce44349b3" providerId="LiveId" clId="{0C8DD60E-6B28-4885-88BC-A772E727CD52}" dt="2021-05-04T04:46:43.504" v="401" actId="478"/>
          <ac:spMkLst>
            <pc:docMk/>
            <pc:sldMk cId="802743741" sldId="1929"/>
            <ac:spMk id="18" creationId="{E4B3FF11-1334-45DF-80DA-6318D8177602}"/>
          </ac:spMkLst>
        </pc:spChg>
        <pc:spChg chg="add del mod">
          <ac:chgData name="Aurelien Domont" userId="6da7715ce44349b3" providerId="LiveId" clId="{0C8DD60E-6B28-4885-88BC-A772E727CD52}" dt="2021-05-04T04:46:43.504" v="401" actId="478"/>
          <ac:spMkLst>
            <pc:docMk/>
            <pc:sldMk cId="802743741" sldId="1929"/>
            <ac:spMk id="19" creationId="{DFFF6644-6CE7-4074-99CE-A83FD3D68C65}"/>
          </ac:spMkLst>
        </pc:spChg>
        <pc:spChg chg="add del mod">
          <ac:chgData name="Aurelien Domont" userId="6da7715ce44349b3" providerId="LiveId" clId="{0C8DD60E-6B28-4885-88BC-A772E727CD52}" dt="2021-05-04T04:56:28.750" v="692" actId="20577"/>
          <ac:spMkLst>
            <pc:docMk/>
            <pc:sldMk cId="802743741" sldId="1929"/>
            <ac:spMk id="21" creationId="{E3C10B17-E763-486B-8ECE-57D226F75197}"/>
          </ac:spMkLst>
        </pc:spChg>
        <pc:spChg chg="add mod">
          <ac:chgData name="Aurelien Domont" userId="6da7715ce44349b3" providerId="LiveId" clId="{0C8DD60E-6B28-4885-88BC-A772E727CD52}" dt="2021-05-04T04:56:54.103" v="696" actId="20577"/>
          <ac:spMkLst>
            <pc:docMk/>
            <pc:sldMk cId="802743741" sldId="1929"/>
            <ac:spMk id="23" creationId="{9A6F003C-372D-42F0-8691-A202E78E8FC6}"/>
          </ac:spMkLst>
        </pc:spChg>
        <pc:spChg chg="add mod">
          <ac:chgData name="Aurelien Domont" userId="6da7715ce44349b3" providerId="LiveId" clId="{0C8DD60E-6B28-4885-88BC-A772E727CD52}" dt="2021-05-04T04:55:43.540" v="653" actId="20577"/>
          <ac:spMkLst>
            <pc:docMk/>
            <pc:sldMk cId="802743741" sldId="1929"/>
            <ac:spMk id="26" creationId="{1108EFEA-0C39-465C-A5A8-CA5A6F245750}"/>
          </ac:spMkLst>
        </pc:spChg>
        <pc:spChg chg="add mod">
          <ac:chgData name="Aurelien Domont" userId="6da7715ce44349b3" providerId="LiveId" clId="{0C8DD60E-6B28-4885-88BC-A772E727CD52}" dt="2021-05-04T04:55:55.012" v="656" actId="6549"/>
          <ac:spMkLst>
            <pc:docMk/>
            <pc:sldMk cId="802743741" sldId="1929"/>
            <ac:spMk id="27" creationId="{00FF93FF-8D92-4879-BF25-C6310C1253AF}"/>
          </ac:spMkLst>
        </pc:spChg>
        <pc:spChg chg="add mod">
          <ac:chgData name="Aurelien Domont" userId="6da7715ce44349b3" providerId="LiveId" clId="{0C8DD60E-6B28-4885-88BC-A772E727CD52}" dt="2021-05-04T04:55:59.323" v="658"/>
          <ac:spMkLst>
            <pc:docMk/>
            <pc:sldMk cId="802743741" sldId="1929"/>
            <ac:spMk id="28" creationId="{9F1ABC19-F166-4ECA-AB34-778F69B87D62}"/>
          </ac:spMkLst>
        </pc:spChg>
        <pc:spChg chg="add mod">
          <ac:chgData name="Aurelien Domont" userId="6da7715ce44349b3" providerId="LiveId" clId="{0C8DD60E-6B28-4885-88BC-A772E727CD52}" dt="2021-05-04T04:56:00.887" v="659"/>
          <ac:spMkLst>
            <pc:docMk/>
            <pc:sldMk cId="802743741" sldId="1929"/>
            <ac:spMk id="29" creationId="{C8BC36DF-699A-4EDE-BEEC-610CA8BE9089}"/>
          </ac:spMkLst>
        </pc:spChg>
        <pc:spChg chg="add mod">
          <ac:chgData name="Aurelien Domont" userId="6da7715ce44349b3" providerId="LiveId" clId="{0C8DD60E-6B28-4885-88BC-A772E727CD52}" dt="2021-05-04T04:55:57.240" v="657"/>
          <ac:spMkLst>
            <pc:docMk/>
            <pc:sldMk cId="802743741" sldId="1929"/>
            <ac:spMk id="38" creationId="{336E0884-36F9-464D-90D1-1869C0E40A8C}"/>
          </ac:spMkLst>
        </pc:spChg>
        <pc:spChg chg="add del mod">
          <ac:chgData name="Aurelien Domont" userId="6da7715ce44349b3" providerId="LiveId" clId="{0C8DD60E-6B28-4885-88BC-A772E727CD52}" dt="2021-05-04T04:50:56.737" v="527" actId="478"/>
          <ac:spMkLst>
            <pc:docMk/>
            <pc:sldMk cId="802743741" sldId="1929"/>
            <ac:spMk id="39" creationId="{B1E99465-90A0-48C2-9E66-BFE42585348E}"/>
          </ac:spMkLst>
        </pc:spChg>
        <pc:spChg chg="add mod">
          <ac:chgData name="Aurelien Domont" userId="6da7715ce44349b3" providerId="LiveId" clId="{0C8DD60E-6B28-4885-88BC-A772E727CD52}" dt="2021-05-04T04:56:02.358" v="660"/>
          <ac:spMkLst>
            <pc:docMk/>
            <pc:sldMk cId="802743741" sldId="1929"/>
            <ac:spMk id="56" creationId="{9E009A95-E0BB-47E8-8F22-601BFA2EFA78}"/>
          </ac:spMkLst>
        </pc:spChg>
        <pc:grpChg chg="del">
          <ac:chgData name="Aurelien Domont" userId="6da7715ce44349b3" providerId="LiveId" clId="{0C8DD60E-6B28-4885-88BC-A772E727CD52}" dt="2021-05-04T04:36:12.676" v="1" actId="478"/>
          <ac:grpSpMkLst>
            <pc:docMk/>
            <pc:sldMk cId="802743741" sldId="1929"/>
            <ac:grpSpMk id="6" creationId="{95F0BAB5-0014-4793-9CE0-1646926D133E}"/>
          </ac:grpSpMkLst>
        </pc:grpChg>
        <pc:cxnChg chg="add del mod">
          <ac:chgData name="Aurelien Domont" userId="6da7715ce44349b3" providerId="LiveId" clId="{0C8DD60E-6B28-4885-88BC-A772E727CD52}" dt="2021-05-04T04:46:43.504" v="401" actId="478"/>
          <ac:cxnSpMkLst>
            <pc:docMk/>
            <pc:sldMk cId="802743741" sldId="1929"/>
            <ac:cxnSpMk id="12" creationId="{4AACC30C-F89C-4B94-8096-57A8E32841AE}"/>
          </ac:cxnSpMkLst>
        </pc:cxnChg>
        <pc:cxnChg chg="add del mod">
          <ac:chgData name="Aurelien Domont" userId="6da7715ce44349b3" providerId="LiveId" clId="{0C8DD60E-6B28-4885-88BC-A772E727CD52}" dt="2021-05-04T04:46:43.504" v="401" actId="478"/>
          <ac:cxnSpMkLst>
            <pc:docMk/>
            <pc:sldMk cId="802743741" sldId="1929"/>
            <ac:cxnSpMk id="14" creationId="{D88B973F-91A1-44EE-B0FA-A547948A9928}"/>
          </ac:cxnSpMkLst>
        </pc:cxnChg>
        <pc:cxnChg chg="add del mod">
          <ac:chgData name="Aurelien Domont" userId="6da7715ce44349b3" providerId="LiveId" clId="{0C8DD60E-6B28-4885-88BC-A772E727CD52}" dt="2021-05-04T04:46:43.504" v="401" actId="478"/>
          <ac:cxnSpMkLst>
            <pc:docMk/>
            <pc:sldMk cId="802743741" sldId="1929"/>
            <ac:cxnSpMk id="20" creationId="{1C2865F9-BF9A-49B3-96FD-767EFF45132B}"/>
          </ac:cxnSpMkLst>
        </pc:cxnChg>
        <pc:cxnChg chg="add del mod">
          <ac:chgData name="Aurelien Domont" userId="6da7715ce44349b3" providerId="LiveId" clId="{0C8DD60E-6B28-4885-88BC-A772E727CD52}" dt="2021-05-04T04:46:43.504" v="401" actId="478"/>
          <ac:cxnSpMkLst>
            <pc:docMk/>
            <pc:sldMk cId="802743741" sldId="1929"/>
            <ac:cxnSpMk id="22" creationId="{4A8DFD2C-9E86-4101-B6B9-F755161F3687}"/>
          </ac:cxnSpMkLst>
        </pc:cxnChg>
        <pc:cxnChg chg="add del mod">
          <ac:chgData name="Aurelien Domont" userId="6da7715ce44349b3" providerId="LiveId" clId="{0C8DD60E-6B28-4885-88BC-A772E727CD52}" dt="2021-05-04T04:51:16.841" v="541" actId="478"/>
          <ac:cxnSpMkLst>
            <pc:docMk/>
            <pc:sldMk cId="802743741" sldId="1929"/>
            <ac:cxnSpMk id="24" creationId="{23183B3B-5B45-4F68-8B5D-D4ECFFCA1296}"/>
          </ac:cxnSpMkLst>
        </pc:cxnChg>
        <pc:cxnChg chg="add del mod">
          <ac:chgData name="Aurelien Domont" userId="6da7715ce44349b3" providerId="LiveId" clId="{0C8DD60E-6B28-4885-88BC-A772E727CD52}" dt="2021-05-04T04:51:16.841" v="541" actId="478"/>
          <ac:cxnSpMkLst>
            <pc:docMk/>
            <pc:sldMk cId="802743741" sldId="1929"/>
            <ac:cxnSpMk id="25" creationId="{DA0C2C3C-0C51-480B-8BFD-456D81FCA197}"/>
          </ac:cxnSpMkLst>
        </pc:cxnChg>
        <pc:cxnChg chg="add del mod">
          <ac:chgData name="Aurelien Domont" userId="6da7715ce44349b3" providerId="LiveId" clId="{0C8DD60E-6B28-4885-88BC-A772E727CD52}" dt="2021-05-04T04:51:16.841" v="541" actId="478"/>
          <ac:cxnSpMkLst>
            <pc:docMk/>
            <pc:sldMk cId="802743741" sldId="1929"/>
            <ac:cxnSpMk id="30" creationId="{D252C004-8661-481D-8BC0-A89E733A938A}"/>
          </ac:cxnSpMkLst>
        </pc:cxnChg>
        <pc:cxnChg chg="add del mod">
          <ac:chgData name="Aurelien Domont" userId="6da7715ce44349b3" providerId="LiveId" clId="{0C8DD60E-6B28-4885-88BC-A772E727CD52}" dt="2021-05-04T04:51:16.841" v="541" actId="478"/>
          <ac:cxnSpMkLst>
            <pc:docMk/>
            <pc:sldMk cId="802743741" sldId="1929"/>
            <ac:cxnSpMk id="31" creationId="{28B4E38E-1CA5-4795-A829-58E7D74DD065}"/>
          </ac:cxnSpMkLst>
        </pc:cxnChg>
        <pc:cxnChg chg="add del mod">
          <ac:chgData name="Aurelien Domont" userId="6da7715ce44349b3" providerId="LiveId" clId="{0C8DD60E-6B28-4885-88BC-A772E727CD52}" dt="2021-05-04T04:51:16.841" v="541" actId="478"/>
          <ac:cxnSpMkLst>
            <pc:docMk/>
            <pc:sldMk cId="802743741" sldId="1929"/>
            <ac:cxnSpMk id="41" creationId="{9906CD59-1CF7-4B2D-BED6-3F51CC03C526}"/>
          </ac:cxnSpMkLst>
        </pc:cxnChg>
        <pc:cxnChg chg="add mod">
          <ac:chgData name="Aurelien Domont" userId="6da7715ce44349b3" providerId="LiveId" clId="{0C8DD60E-6B28-4885-88BC-A772E727CD52}" dt="2021-05-04T04:55:27.785" v="640" actId="1037"/>
          <ac:cxnSpMkLst>
            <pc:docMk/>
            <pc:sldMk cId="802743741" sldId="1929"/>
            <ac:cxnSpMk id="44" creationId="{D4D017F2-9A9E-484E-8C4A-00AE36EFEADB}"/>
          </ac:cxnSpMkLst>
        </pc:cxnChg>
        <pc:cxnChg chg="add del mod">
          <ac:chgData name="Aurelien Domont" userId="6da7715ce44349b3" providerId="LiveId" clId="{0C8DD60E-6B28-4885-88BC-A772E727CD52}" dt="2021-05-04T04:52:05.570" v="561" actId="11529"/>
          <ac:cxnSpMkLst>
            <pc:docMk/>
            <pc:sldMk cId="802743741" sldId="1929"/>
            <ac:cxnSpMk id="46" creationId="{96D8D7A6-1662-450E-A75E-504C7C214F33}"/>
          </ac:cxnSpMkLst>
        </pc:cxnChg>
        <pc:cxnChg chg="add mod">
          <ac:chgData name="Aurelien Domont" userId="6da7715ce44349b3" providerId="LiveId" clId="{0C8DD60E-6B28-4885-88BC-A772E727CD52}" dt="2021-05-04T04:55:27.785" v="640" actId="1037"/>
          <ac:cxnSpMkLst>
            <pc:docMk/>
            <pc:sldMk cId="802743741" sldId="1929"/>
            <ac:cxnSpMk id="48" creationId="{8FC06228-A6FF-46AB-A4D5-7AECEAA7C1D0}"/>
          </ac:cxnSpMkLst>
        </pc:cxnChg>
        <pc:cxnChg chg="add mod">
          <ac:chgData name="Aurelien Domont" userId="6da7715ce44349b3" providerId="LiveId" clId="{0C8DD60E-6B28-4885-88BC-A772E727CD52}" dt="2021-05-04T04:55:27.785" v="640" actId="1037"/>
          <ac:cxnSpMkLst>
            <pc:docMk/>
            <pc:sldMk cId="802743741" sldId="1929"/>
            <ac:cxnSpMk id="50" creationId="{7EA2A1A6-16C8-4114-882A-94F20964BF75}"/>
          </ac:cxnSpMkLst>
        </pc:cxnChg>
        <pc:cxnChg chg="add mod">
          <ac:chgData name="Aurelien Domont" userId="6da7715ce44349b3" providerId="LiveId" clId="{0C8DD60E-6B28-4885-88BC-A772E727CD52}" dt="2021-05-04T04:55:27.785" v="640" actId="1037"/>
          <ac:cxnSpMkLst>
            <pc:docMk/>
            <pc:sldMk cId="802743741" sldId="1929"/>
            <ac:cxnSpMk id="52" creationId="{58CEA8CB-563F-4DE9-ADE7-54C0263A1F9E}"/>
          </ac:cxnSpMkLst>
        </pc:cxnChg>
        <pc:cxnChg chg="add mod">
          <ac:chgData name="Aurelien Domont" userId="6da7715ce44349b3" providerId="LiveId" clId="{0C8DD60E-6B28-4885-88BC-A772E727CD52}" dt="2021-05-04T04:55:27.785" v="640" actId="1037"/>
          <ac:cxnSpMkLst>
            <pc:docMk/>
            <pc:sldMk cId="802743741" sldId="1929"/>
            <ac:cxnSpMk id="54" creationId="{0082E8FC-EE92-4921-81B6-AA83CBAA7F9E}"/>
          </ac:cxnSpMkLst>
        </pc:cxnChg>
        <pc:cxnChg chg="add del mod">
          <ac:chgData name="Aurelien Domont" userId="6da7715ce44349b3" providerId="LiveId" clId="{0C8DD60E-6B28-4885-88BC-A772E727CD52}" dt="2021-05-04T04:54:48.606" v="586" actId="11529"/>
          <ac:cxnSpMkLst>
            <pc:docMk/>
            <pc:sldMk cId="802743741" sldId="1929"/>
            <ac:cxnSpMk id="58" creationId="{8A755953-2C00-4D9F-85AD-D5052F5617EC}"/>
          </ac:cxnSpMkLst>
        </pc:cxnChg>
        <pc:cxnChg chg="add mod">
          <ac:chgData name="Aurelien Domont" userId="6da7715ce44349b3" providerId="LiveId" clId="{0C8DD60E-6B28-4885-88BC-A772E727CD52}" dt="2021-05-04T04:55:27.785" v="640" actId="1037"/>
          <ac:cxnSpMkLst>
            <pc:docMk/>
            <pc:sldMk cId="802743741" sldId="1929"/>
            <ac:cxnSpMk id="60" creationId="{D2C5429E-A211-4903-8423-A698CDDDD924}"/>
          </ac:cxnSpMkLst>
        </pc:cxnChg>
      </pc:sldChg>
      <pc:sldChg chg="del">
        <pc:chgData name="Aurelien Domont" userId="6da7715ce44349b3" providerId="LiveId" clId="{0C8DD60E-6B28-4885-88BC-A772E727CD52}" dt="2021-05-04T04:57:34.752" v="700" actId="47"/>
        <pc:sldMkLst>
          <pc:docMk/>
          <pc:sldMk cId="948385396" sldId="1930"/>
        </pc:sldMkLst>
      </pc:sldChg>
      <pc:sldChg chg="modSp mod ord">
        <pc:chgData name="Aurelien Domont" userId="6da7715ce44349b3" providerId="LiveId" clId="{0C8DD60E-6B28-4885-88BC-A772E727CD52}" dt="2021-05-04T04:59:36.575" v="831"/>
        <pc:sldMkLst>
          <pc:docMk/>
          <pc:sldMk cId="784211076" sldId="1931"/>
        </pc:sldMkLst>
        <pc:spChg chg="mod">
          <ac:chgData name="Aurelien Domont" userId="6da7715ce44349b3" providerId="LiveId" clId="{0C8DD60E-6B28-4885-88BC-A772E727CD52}" dt="2021-05-04T04:58:41.265" v="766" actId="20577"/>
          <ac:spMkLst>
            <pc:docMk/>
            <pc:sldMk cId="784211076" sldId="1931"/>
            <ac:spMk id="16" creationId="{6C2BB713-9637-4B9B-938F-E9768876782A}"/>
          </ac:spMkLst>
        </pc:spChg>
        <pc:spChg chg="mod">
          <ac:chgData name="Aurelien Domont" userId="6da7715ce44349b3" providerId="LiveId" clId="{0C8DD60E-6B28-4885-88BC-A772E727CD52}" dt="2021-05-04T04:59:21.044" v="824" actId="20577"/>
          <ac:spMkLst>
            <pc:docMk/>
            <pc:sldMk cId="784211076" sldId="1931"/>
            <ac:spMk id="22" creationId="{EE78CAB5-920F-4474-9507-223D946A1013}"/>
          </ac:spMkLst>
        </pc:spChg>
        <pc:spChg chg="mod">
          <ac:chgData name="Aurelien Domont" userId="6da7715ce44349b3" providerId="LiveId" clId="{0C8DD60E-6B28-4885-88BC-A772E727CD52}" dt="2021-05-04T04:59:28.866" v="825"/>
          <ac:spMkLst>
            <pc:docMk/>
            <pc:sldMk cId="784211076" sldId="1931"/>
            <ac:spMk id="24" creationId="{E8E79278-3E47-491E-80C4-2745363AB20D}"/>
          </ac:spMkLst>
        </pc:spChg>
        <pc:spChg chg="mod">
          <ac:chgData name="Aurelien Domont" userId="6da7715ce44349b3" providerId="LiveId" clId="{0C8DD60E-6B28-4885-88BC-A772E727CD52}" dt="2021-05-04T04:59:30.693" v="826"/>
          <ac:spMkLst>
            <pc:docMk/>
            <pc:sldMk cId="784211076" sldId="1931"/>
            <ac:spMk id="35" creationId="{AE266B61-A26F-4864-A119-B73D8D3EEFE3}"/>
          </ac:spMkLst>
        </pc:spChg>
        <pc:spChg chg="mod">
          <ac:chgData name="Aurelien Domont" userId="6da7715ce44349b3" providerId="LiveId" clId="{0C8DD60E-6B28-4885-88BC-A772E727CD52}" dt="2021-05-04T04:59:31.881" v="827"/>
          <ac:spMkLst>
            <pc:docMk/>
            <pc:sldMk cId="784211076" sldId="1931"/>
            <ac:spMk id="37" creationId="{473EDCDD-9075-40AB-A47F-8FF455A2E444}"/>
          </ac:spMkLst>
        </pc:spChg>
        <pc:spChg chg="mod">
          <ac:chgData name="Aurelien Domont" userId="6da7715ce44349b3" providerId="LiveId" clId="{0C8DD60E-6B28-4885-88BC-A772E727CD52}" dt="2021-05-04T04:59:35.393" v="830"/>
          <ac:spMkLst>
            <pc:docMk/>
            <pc:sldMk cId="784211076" sldId="1931"/>
            <ac:spMk id="39" creationId="{25B98639-8371-4BB9-9FA0-6591943AEA62}"/>
          </ac:spMkLst>
        </pc:spChg>
        <pc:spChg chg="mod">
          <ac:chgData name="Aurelien Domont" userId="6da7715ce44349b3" providerId="LiveId" clId="{0C8DD60E-6B28-4885-88BC-A772E727CD52}" dt="2021-05-04T04:59:32.951" v="828"/>
          <ac:spMkLst>
            <pc:docMk/>
            <pc:sldMk cId="784211076" sldId="1931"/>
            <ac:spMk id="41" creationId="{60047BC4-494E-465F-BB2C-37A58D27A895}"/>
          </ac:spMkLst>
        </pc:spChg>
        <pc:spChg chg="mod">
          <ac:chgData name="Aurelien Domont" userId="6da7715ce44349b3" providerId="LiveId" clId="{0C8DD60E-6B28-4885-88BC-A772E727CD52}" dt="2021-05-04T04:59:36.575" v="831"/>
          <ac:spMkLst>
            <pc:docMk/>
            <pc:sldMk cId="784211076" sldId="1931"/>
            <ac:spMk id="43" creationId="{067232F5-DCB9-418C-AF5E-20A9ADF37A95}"/>
          </ac:spMkLst>
        </pc:spChg>
        <pc:spChg chg="mod">
          <ac:chgData name="Aurelien Domont" userId="6da7715ce44349b3" providerId="LiveId" clId="{0C8DD60E-6B28-4885-88BC-A772E727CD52}" dt="2021-05-04T04:59:34.164" v="829"/>
          <ac:spMkLst>
            <pc:docMk/>
            <pc:sldMk cId="784211076" sldId="1931"/>
            <ac:spMk id="45" creationId="{3C667C76-9848-4E10-980B-6994068638EA}"/>
          </ac:spMkLst>
        </pc:spChg>
      </pc:sldChg>
      <pc:sldChg chg="del">
        <pc:chgData name="Aurelien Domont" userId="6da7715ce44349b3" providerId="LiveId" clId="{0C8DD60E-6B28-4885-88BC-A772E727CD52}" dt="2021-05-04T04:59:43.603" v="832" actId="47"/>
        <pc:sldMkLst>
          <pc:docMk/>
          <pc:sldMk cId="2839386134" sldId="1932"/>
        </pc:sldMkLst>
      </pc:sldChg>
      <pc:sldChg chg="del">
        <pc:chgData name="Aurelien Domont" userId="6da7715ce44349b3" providerId="LiveId" clId="{0C8DD60E-6B28-4885-88BC-A772E727CD52}" dt="2021-05-04T05:12:09.809" v="943" actId="47"/>
        <pc:sldMkLst>
          <pc:docMk/>
          <pc:sldMk cId="631546691" sldId="1933"/>
        </pc:sldMkLst>
      </pc:sldChg>
      <pc:sldChg chg="del">
        <pc:chgData name="Aurelien Domont" userId="6da7715ce44349b3" providerId="LiveId" clId="{0C8DD60E-6B28-4885-88BC-A772E727CD52}" dt="2021-05-04T05:12:09.809" v="943" actId="47"/>
        <pc:sldMkLst>
          <pc:docMk/>
          <pc:sldMk cId="1360412850" sldId="1934"/>
        </pc:sldMkLst>
      </pc:sldChg>
      <pc:sldChg chg="delSp modSp mod ord">
        <pc:chgData name="Aurelien Domont" userId="6da7715ce44349b3" providerId="LiveId" clId="{0C8DD60E-6B28-4885-88BC-A772E727CD52}" dt="2021-05-04T05:12:21.083" v="948" actId="478"/>
        <pc:sldMkLst>
          <pc:docMk/>
          <pc:sldMk cId="317604876" sldId="1935"/>
        </pc:sldMkLst>
        <pc:spChg chg="mod">
          <ac:chgData name="Aurelien Domont" userId="6da7715ce44349b3" providerId="LiveId" clId="{0C8DD60E-6B28-4885-88BC-A772E727CD52}" dt="2021-05-04T05:12:18.239" v="947" actId="20577"/>
          <ac:spMkLst>
            <pc:docMk/>
            <pc:sldMk cId="317604876" sldId="1935"/>
            <ac:spMk id="16" creationId="{6C2BB713-9637-4B9B-938F-E9768876782A}"/>
          </ac:spMkLst>
        </pc:spChg>
        <pc:grpChg chg="del">
          <ac:chgData name="Aurelien Domont" userId="6da7715ce44349b3" providerId="LiveId" clId="{0C8DD60E-6B28-4885-88BC-A772E727CD52}" dt="2021-05-04T05:12:21.083" v="948" actId="478"/>
          <ac:grpSpMkLst>
            <pc:docMk/>
            <pc:sldMk cId="317604876" sldId="1935"/>
            <ac:grpSpMk id="14" creationId="{8DC53829-2CA1-4DD3-99EE-AF6C3FDB20E0}"/>
          </ac:grpSpMkLst>
        </pc:grpChg>
      </pc:sldChg>
      <pc:sldChg chg="del">
        <pc:chgData name="Aurelien Domont" userId="6da7715ce44349b3" providerId="LiveId" clId="{0C8DD60E-6B28-4885-88BC-A772E727CD52}" dt="2021-05-04T05:12:53.756" v="949" actId="47"/>
        <pc:sldMkLst>
          <pc:docMk/>
          <pc:sldMk cId="580696589" sldId="1936"/>
        </pc:sldMkLst>
      </pc:sldChg>
      <pc:sldChg chg="del">
        <pc:chgData name="Aurelien Domont" userId="6da7715ce44349b3" providerId="LiveId" clId="{0C8DD60E-6B28-4885-88BC-A772E727CD52}" dt="2021-05-04T05:12:55.828" v="950" actId="47"/>
        <pc:sldMkLst>
          <pc:docMk/>
          <pc:sldMk cId="2855966363" sldId="1937"/>
        </pc:sldMkLst>
      </pc:sldChg>
      <pc:sldChg chg="del">
        <pc:chgData name="Aurelien Domont" userId="6da7715ce44349b3" providerId="LiveId" clId="{0C8DD60E-6B28-4885-88BC-A772E727CD52}" dt="2021-05-04T05:14:52.366" v="952" actId="47"/>
        <pc:sldMkLst>
          <pc:docMk/>
          <pc:sldMk cId="2589605413" sldId="1938"/>
        </pc:sldMkLst>
      </pc:sldChg>
      <pc:sldChg chg="del">
        <pc:chgData name="Aurelien Domont" userId="6da7715ce44349b3" providerId="LiveId" clId="{0C8DD60E-6B28-4885-88BC-A772E727CD52}" dt="2021-05-04T05:14:52.366" v="952" actId="47"/>
        <pc:sldMkLst>
          <pc:docMk/>
          <pc:sldMk cId="3714325450" sldId="1939"/>
        </pc:sldMkLst>
      </pc:sldChg>
      <pc:sldChg chg="del">
        <pc:chgData name="Aurelien Domont" userId="6da7715ce44349b3" providerId="LiveId" clId="{0C8DD60E-6B28-4885-88BC-A772E727CD52}" dt="2021-05-04T05:14:52.366" v="952" actId="47"/>
        <pc:sldMkLst>
          <pc:docMk/>
          <pc:sldMk cId="1414149744" sldId="1940"/>
        </pc:sldMkLst>
      </pc:sldChg>
      <pc:sldChg chg="del">
        <pc:chgData name="Aurelien Domont" userId="6da7715ce44349b3" providerId="LiveId" clId="{0C8DD60E-6B28-4885-88BC-A772E727CD52}" dt="2021-05-04T05:14:52.366" v="952" actId="47"/>
        <pc:sldMkLst>
          <pc:docMk/>
          <pc:sldMk cId="599795422" sldId="1941"/>
        </pc:sldMkLst>
      </pc:sldChg>
      <pc:sldChg chg="del">
        <pc:chgData name="Aurelien Domont" userId="6da7715ce44349b3" providerId="LiveId" clId="{0C8DD60E-6B28-4885-88BC-A772E727CD52}" dt="2021-05-04T05:14:52.366" v="952" actId="47"/>
        <pc:sldMkLst>
          <pc:docMk/>
          <pc:sldMk cId="1403188377" sldId="1942"/>
        </pc:sldMkLst>
      </pc:sldChg>
      <pc:sldChg chg="modSp del mod">
        <pc:chgData name="Aurelien Domont" userId="6da7715ce44349b3" providerId="LiveId" clId="{0C8DD60E-6B28-4885-88BC-A772E727CD52}" dt="2021-05-04T05:14:52.366" v="952" actId="47"/>
        <pc:sldMkLst>
          <pc:docMk/>
          <pc:sldMk cId="2977576074" sldId="1943"/>
        </pc:sldMkLst>
        <pc:spChg chg="mod">
          <ac:chgData name="Aurelien Domont" userId="6da7715ce44349b3" providerId="LiveId" clId="{0C8DD60E-6B28-4885-88BC-A772E727CD52}" dt="2021-05-04T05:13:24.316" v="951" actId="33524"/>
          <ac:spMkLst>
            <pc:docMk/>
            <pc:sldMk cId="2977576074" sldId="1943"/>
            <ac:spMk id="16" creationId="{6C2BB713-9637-4B9B-938F-E9768876782A}"/>
          </ac:spMkLst>
        </pc:spChg>
      </pc:sldChg>
      <pc:sldChg chg="del">
        <pc:chgData name="Aurelien Domont" userId="6da7715ce44349b3" providerId="LiveId" clId="{0C8DD60E-6B28-4885-88BC-A772E727CD52}" dt="2021-05-04T05:14:56.719" v="953" actId="47"/>
        <pc:sldMkLst>
          <pc:docMk/>
          <pc:sldMk cId="1662017462" sldId="1944"/>
        </pc:sldMkLst>
      </pc:sldChg>
      <pc:sldChg chg="del">
        <pc:chgData name="Aurelien Domont" userId="6da7715ce44349b3" providerId="LiveId" clId="{0C8DD60E-6B28-4885-88BC-A772E727CD52}" dt="2021-05-04T05:16:09.885" v="954" actId="47"/>
        <pc:sldMkLst>
          <pc:docMk/>
          <pc:sldMk cId="1128419591" sldId="1945"/>
        </pc:sldMkLst>
      </pc:sldChg>
      <pc:sldChg chg="modSp mod ord">
        <pc:chgData name="Aurelien Domont" userId="6da7715ce44349b3" providerId="LiveId" clId="{0C8DD60E-6B28-4885-88BC-A772E727CD52}" dt="2021-05-04T05:16:17.321" v="962"/>
        <pc:sldMkLst>
          <pc:docMk/>
          <pc:sldMk cId="3950953867" sldId="1946"/>
        </pc:sldMkLst>
        <pc:spChg chg="mod">
          <ac:chgData name="Aurelien Domont" userId="6da7715ce44349b3" providerId="LiveId" clId="{0C8DD60E-6B28-4885-88BC-A772E727CD52}" dt="2021-05-04T05:16:15.131" v="960" actId="6549"/>
          <ac:spMkLst>
            <pc:docMk/>
            <pc:sldMk cId="3950953867" sldId="1946"/>
            <ac:spMk id="16" creationId="{6C2BB713-9637-4B9B-938F-E9768876782A}"/>
          </ac:spMkLst>
        </pc:spChg>
      </pc:sldChg>
      <pc:sldChg chg="modSp mod ord">
        <pc:chgData name="Aurelien Domont" userId="6da7715ce44349b3" providerId="LiveId" clId="{0C8DD60E-6B28-4885-88BC-A772E727CD52}" dt="2021-05-04T05:17:02.734" v="1002"/>
        <pc:sldMkLst>
          <pc:docMk/>
          <pc:sldMk cId="1632976083" sldId="1947"/>
        </pc:sldMkLst>
        <pc:spChg chg="mod">
          <ac:chgData name="Aurelien Domont" userId="6da7715ce44349b3" providerId="LiveId" clId="{0C8DD60E-6B28-4885-88BC-A772E727CD52}" dt="2021-05-04T05:16:51.777" v="1000" actId="20577"/>
          <ac:spMkLst>
            <pc:docMk/>
            <pc:sldMk cId="1632976083" sldId="1947"/>
            <ac:spMk id="16" creationId="{6C2BB713-9637-4B9B-938F-E9768876782A}"/>
          </ac:spMkLst>
        </pc:spChg>
      </pc:sldChg>
      <pc:sldChg chg="modSp mod ord">
        <pc:chgData name="Aurelien Domont" userId="6da7715ce44349b3" providerId="LiveId" clId="{0C8DD60E-6B28-4885-88BC-A772E727CD52}" dt="2021-05-04T05:17:32.204" v="1021"/>
        <pc:sldMkLst>
          <pc:docMk/>
          <pc:sldMk cId="3026069399" sldId="1948"/>
        </pc:sldMkLst>
        <pc:spChg chg="mod">
          <ac:chgData name="Aurelien Domont" userId="6da7715ce44349b3" providerId="LiveId" clId="{0C8DD60E-6B28-4885-88BC-A772E727CD52}" dt="2021-05-04T05:17:13.880" v="1019" actId="20577"/>
          <ac:spMkLst>
            <pc:docMk/>
            <pc:sldMk cId="3026069399" sldId="1948"/>
            <ac:spMk id="16" creationId="{6C2BB713-9637-4B9B-938F-E9768876782A}"/>
          </ac:spMkLst>
        </pc:spChg>
      </pc:sldChg>
      <pc:sldChg chg="ord">
        <pc:chgData name="Aurelien Domont" userId="6da7715ce44349b3" providerId="LiveId" clId="{0C8DD60E-6B28-4885-88BC-A772E727CD52}" dt="2021-05-04T05:17:35.793" v="1023"/>
        <pc:sldMkLst>
          <pc:docMk/>
          <pc:sldMk cId="301689330" sldId="1949"/>
        </pc:sldMkLst>
      </pc:sldChg>
      <pc:sldChg chg="ord">
        <pc:chgData name="Aurelien Domont" userId="6da7715ce44349b3" providerId="LiveId" clId="{0C8DD60E-6B28-4885-88BC-A772E727CD52}" dt="2021-05-04T05:17:40.223" v="1025"/>
        <pc:sldMkLst>
          <pc:docMk/>
          <pc:sldMk cId="2802637173" sldId="1950"/>
        </pc:sldMkLst>
      </pc:sldChg>
      <pc:sldChg chg="ord">
        <pc:chgData name="Aurelien Domont" userId="6da7715ce44349b3" providerId="LiveId" clId="{0C8DD60E-6B28-4885-88BC-A772E727CD52}" dt="2021-05-04T05:17:42.971" v="1027"/>
        <pc:sldMkLst>
          <pc:docMk/>
          <pc:sldMk cId="799750334" sldId="1951"/>
        </pc:sldMkLst>
      </pc:sldChg>
      <pc:sldChg chg="del">
        <pc:chgData name="Aurelien Domont" userId="6da7715ce44349b3" providerId="LiveId" clId="{0C8DD60E-6B28-4885-88BC-A772E727CD52}" dt="2021-05-04T05:17:47.270" v="1028" actId="47"/>
        <pc:sldMkLst>
          <pc:docMk/>
          <pc:sldMk cId="2365333669" sldId="1952"/>
        </pc:sldMkLst>
      </pc:sldChg>
      <pc:sldChg chg="modSp mod ord">
        <pc:chgData name="Aurelien Domont" userId="6da7715ce44349b3" providerId="LiveId" clId="{0C8DD60E-6B28-4885-88BC-A772E727CD52}" dt="2021-05-04T05:19:43.846" v="1071"/>
        <pc:sldMkLst>
          <pc:docMk/>
          <pc:sldMk cId="931823183" sldId="1953"/>
        </pc:sldMkLst>
        <pc:spChg chg="mod">
          <ac:chgData name="Aurelien Domont" userId="6da7715ce44349b3" providerId="LiveId" clId="{0C8DD60E-6B28-4885-88BC-A772E727CD52}" dt="2021-05-04T05:19:11.666" v="1069" actId="20577"/>
          <ac:spMkLst>
            <pc:docMk/>
            <pc:sldMk cId="931823183" sldId="1953"/>
            <ac:spMk id="16" creationId="{6C2BB713-9637-4B9B-938F-E9768876782A}"/>
          </ac:spMkLst>
        </pc:spChg>
      </pc:sldChg>
      <pc:sldChg chg="addSp modSp mod ord">
        <pc:chgData name="Aurelien Domont" userId="6da7715ce44349b3" providerId="LiveId" clId="{0C8DD60E-6B28-4885-88BC-A772E727CD52}" dt="2021-05-04T05:23:25.454" v="1197"/>
        <pc:sldMkLst>
          <pc:docMk/>
          <pc:sldMk cId="636448820" sldId="1954"/>
        </pc:sldMkLst>
        <pc:spChg chg="add mod">
          <ac:chgData name="Aurelien Domont" userId="6da7715ce44349b3" providerId="LiveId" clId="{0C8DD60E-6B28-4885-88BC-A772E727CD52}" dt="2021-05-04T05:21:39.267" v="1183"/>
          <ac:spMkLst>
            <pc:docMk/>
            <pc:sldMk cId="636448820" sldId="1954"/>
            <ac:spMk id="7" creationId="{27A5A911-BB65-4F5A-A8CC-D7C7FF342E34}"/>
          </ac:spMkLst>
        </pc:spChg>
        <pc:spChg chg="mod">
          <ac:chgData name="Aurelien Domont" userId="6da7715ce44349b3" providerId="LiveId" clId="{0C8DD60E-6B28-4885-88BC-A772E727CD52}" dt="2021-05-04T05:21:38.462" v="1182" actId="20577"/>
          <ac:spMkLst>
            <pc:docMk/>
            <pc:sldMk cId="636448820" sldId="1954"/>
            <ac:spMk id="16" creationId="{6C2BB713-9637-4B9B-938F-E9768876782A}"/>
          </ac:spMkLst>
        </pc:spChg>
      </pc:sldChg>
      <pc:sldChg chg="del">
        <pc:chgData name="Aurelien Domont" userId="6da7715ce44349b3" providerId="LiveId" clId="{0C8DD60E-6B28-4885-88BC-A772E727CD52}" dt="2021-05-04T05:21:53.923" v="1184" actId="47"/>
        <pc:sldMkLst>
          <pc:docMk/>
          <pc:sldMk cId="660112904" sldId="1955"/>
        </pc:sldMkLst>
      </pc:sldChg>
      <pc:sldChg chg="addSp modSp mod ord">
        <pc:chgData name="Aurelien Domont" userId="6da7715ce44349b3" providerId="LiveId" clId="{0C8DD60E-6B28-4885-88BC-A772E727CD52}" dt="2021-05-04T05:23:29.605" v="1199"/>
        <pc:sldMkLst>
          <pc:docMk/>
          <pc:sldMk cId="387956599" sldId="1956"/>
        </pc:sldMkLst>
        <pc:spChg chg="add mod">
          <ac:chgData name="Aurelien Domont" userId="6da7715ce44349b3" providerId="LiveId" clId="{0C8DD60E-6B28-4885-88BC-A772E727CD52}" dt="2021-05-04T05:22:41.162" v="1194"/>
          <ac:spMkLst>
            <pc:docMk/>
            <pc:sldMk cId="387956599" sldId="1956"/>
            <ac:spMk id="7" creationId="{6FFA8562-C37E-48BF-811E-441CA5C5D654}"/>
          </ac:spMkLst>
        </pc:spChg>
        <pc:spChg chg="mod">
          <ac:chgData name="Aurelien Domont" userId="6da7715ce44349b3" providerId="LiveId" clId="{0C8DD60E-6B28-4885-88BC-A772E727CD52}" dt="2021-05-04T05:22:28.976" v="1193" actId="20577"/>
          <ac:spMkLst>
            <pc:docMk/>
            <pc:sldMk cId="387956599" sldId="1956"/>
            <ac:spMk id="16" creationId="{6C2BB713-9637-4B9B-938F-E9768876782A}"/>
          </ac:spMkLst>
        </pc:spChg>
      </pc:sldChg>
      <pc:sldChg chg="del">
        <pc:chgData name="Aurelien Domont" userId="6da7715ce44349b3" providerId="LiveId" clId="{0C8DD60E-6B28-4885-88BC-A772E727CD52}" dt="2021-05-04T05:22:44.676" v="1195" actId="47"/>
        <pc:sldMkLst>
          <pc:docMk/>
          <pc:sldMk cId="2207806883" sldId="1957"/>
        </pc:sldMkLst>
      </pc:sldChg>
      <pc:sldChg chg="del">
        <pc:chgData name="Aurelien Domont" userId="6da7715ce44349b3" providerId="LiveId" clId="{0C8DD60E-6B28-4885-88BC-A772E727CD52}" dt="2021-05-04T05:26:08.385" v="1204" actId="47"/>
        <pc:sldMkLst>
          <pc:docMk/>
          <pc:sldMk cId="7362875" sldId="1958"/>
        </pc:sldMkLst>
      </pc:sldChg>
      <pc:sldChg chg="addSp delSp modSp mod ord">
        <pc:chgData name="Aurelien Domont" userId="6da7715ce44349b3" providerId="LiveId" clId="{0C8DD60E-6B28-4885-88BC-A772E727CD52}" dt="2021-05-04T05:41:54.919" v="1587" actId="1582"/>
        <pc:sldMkLst>
          <pc:docMk/>
          <pc:sldMk cId="1662162763" sldId="1959"/>
        </pc:sldMkLst>
        <pc:spChg chg="mod">
          <ac:chgData name="Aurelien Domont" userId="6da7715ce44349b3" providerId="LiveId" clId="{0C8DD60E-6B28-4885-88BC-A772E727CD52}" dt="2021-05-04T05:32:29.310" v="1306" actId="207"/>
          <ac:spMkLst>
            <pc:docMk/>
            <pc:sldMk cId="1662162763" sldId="1959"/>
            <ac:spMk id="34" creationId="{92D96A28-27F0-411D-80C4-A005987FFE93}"/>
          </ac:spMkLst>
        </pc:spChg>
        <pc:spChg chg="mod">
          <ac:chgData name="Aurelien Domont" userId="6da7715ce44349b3" providerId="LiveId" clId="{0C8DD60E-6B28-4885-88BC-A772E727CD52}" dt="2021-05-04T05:32:29.310" v="1306" actId="207"/>
          <ac:spMkLst>
            <pc:docMk/>
            <pc:sldMk cId="1662162763" sldId="1959"/>
            <ac:spMk id="35" creationId="{557A673F-CEC2-4E11-919E-9D7A67551604}"/>
          </ac:spMkLst>
        </pc:spChg>
        <pc:grpChg chg="mod">
          <ac:chgData name="Aurelien Domont" userId="6da7715ce44349b3" providerId="LiveId" clId="{0C8DD60E-6B28-4885-88BC-A772E727CD52}" dt="2021-05-04T05:32:29.310" v="1306" actId="207"/>
          <ac:grpSpMkLst>
            <pc:docMk/>
            <pc:sldMk cId="1662162763" sldId="1959"/>
            <ac:grpSpMk id="4" creationId="{9ECED568-17C9-4DD4-9D97-836414E0B382}"/>
          </ac:grpSpMkLst>
        </pc:grpChg>
        <pc:picChg chg="add mod">
          <ac:chgData name="Aurelien Domont" userId="6da7715ce44349b3" providerId="LiveId" clId="{0C8DD60E-6B28-4885-88BC-A772E727CD52}" dt="2021-05-04T05:41:54.919" v="1587" actId="1582"/>
          <ac:picMkLst>
            <pc:docMk/>
            <pc:sldMk cId="1662162763" sldId="1959"/>
            <ac:picMk id="5" creationId="{6A8C82E0-D461-4F54-90EE-B985A10CF5A1}"/>
          </ac:picMkLst>
        </pc:picChg>
        <pc:picChg chg="del">
          <ac:chgData name="Aurelien Domont" userId="6da7715ce44349b3" providerId="LiveId" clId="{0C8DD60E-6B28-4885-88BC-A772E727CD52}" dt="2021-05-04T05:32:07.425" v="1285" actId="478"/>
          <ac:picMkLst>
            <pc:docMk/>
            <pc:sldMk cId="1662162763" sldId="1959"/>
            <ac:picMk id="36" creationId="{4E92232F-F84C-4D2F-91A4-720D5EE20E75}"/>
          </ac:picMkLst>
        </pc:picChg>
      </pc:sldChg>
      <pc:sldChg chg="addSp delSp modSp del mod ord">
        <pc:chgData name="Aurelien Domont" userId="6da7715ce44349b3" providerId="LiveId" clId="{0C8DD60E-6B28-4885-88BC-A772E727CD52}" dt="2021-05-04T05:34:18.375" v="1328" actId="47"/>
        <pc:sldMkLst>
          <pc:docMk/>
          <pc:sldMk cId="1380287118" sldId="1960"/>
        </pc:sldMkLst>
        <pc:spChg chg="mod">
          <ac:chgData name="Aurelien Domont" userId="6da7715ce44349b3" providerId="LiveId" clId="{0C8DD60E-6B28-4885-88BC-A772E727CD52}" dt="2021-05-04T05:28:09.609" v="1255"/>
          <ac:spMkLst>
            <pc:docMk/>
            <pc:sldMk cId="1380287118" sldId="1960"/>
            <ac:spMk id="11" creationId="{55937CA1-500B-4A87-AC3C-124836079109}"/>
          </ac:spMkLst>
        </pc:spChg>
        <pc:spChg chg="mod">
          <ac:chgData name="Aurelien Domont" userId="6da7715ce44349b3" providerId="LiveId" clId="{0C8DD60E-6B28-4885-88BC-A772E727CD52}" dt="2021-05-04T05:28:09.609" v="1255"/>
          <ac:spMkLst>
            <pc:docMk/>
            <pc:sldMk cId="1380287118" sldId="1960"/>
            <ac:spMk id="12" creationId="{792F6B66-C90C-435D-B94F-AC009F769E1B}"/>
          </ac:spMkLst>
        </pc:spChg>
        <pc:spChg chg="del">
          <ac:chgData name="Aurelien Domont" userId="6da7715ce44349b3" providerId="LiveId" clId="{0C8DD60E-6B28-4885-88BC-A772E727CD52}" dt="2021-05-04T05:29:11.649" v="1262" actId="478"/>
          <ac:spMkLst>
            <pc:docMk/>
            <pc:sldMk cId="1380287118" sldId="1960"/>
            <ac:spMk id="14" creationId="{8C83EA33-F57E-4004-8C6F-3BA15D903C43}"/>
          </ac:spMkLst>
        </pc:spChg>
        <pc:spChg chg="del mod">
          <ac:chgData name="Aurelien Domont" userId="6da7715ce44349b3" providerId="LiveId" clId="{0C8DD60E-6B28-4885-88BC-A772E727CD52}" dt="2021-05-04T05:29:11.649" v="1262" actId="478"/>
          <ac:spMkLst>
            <pc:docMk/>
            <pc:sldMk cId="1380287118" sldId="1960"/>
            <ac:spMk id="15" creationId="{E5263B6F-6BB5-46FC-81D3-37F52A3510E0}"/>
          </ac:spMkLst>
        </pc:spChg>
        <pc:spChg chg="add mod">
          <ac:chgData name="Aurelien Domont" userId="6da7715ce44349b3" providerId="LiveId" clId="{0C8DD60E-6B28-4885-88BC-A772E727CD52}" dt="2021-05-04T05:30:19.079" v="1278" actId="6549"/>
          <ac:spMkLst>
            <pc:docMk/>
            <pc:sldMk cId="1380287118" sldId="1960"/>
            <ac:spMk id="17" creationId="{04F89D46-F463-4EC3-BA08-E8F6EA2E0E4A}"/>
          </ac:spMkLst>
        </pc:spChg>
        <pc:spChg chg="mod">
          <ac:chgData name="Aurelien Domont" userId="6da7715ce44349b3" providerId="LiveId" clId="{0C8DD60E-6B28-4885-88BC-A772E727CD52}" dt="2021-05-04T05:33:05.122" v="1315"/>
          <ac:spMkLst>
            <pc:docMk/>
            <pc:sldMk cId="1380287118" sldId="1960"/>
            <ac:spMk id="21" creationId="{CF7F1D0E-C0DD-4C91-81D1-F06E6BB4FCF8}"/>
          </ac:spMkLst>
        </pc:spChg>
        <pc:spChg chg="mod">
          <ac:chgData name="Aurelien Domont" userId="6da7715ce44349b3" providerId="LiveId" clId="{0C8DD60E-6B28-4885-88BC-A772E727CD52}" dt="2021-05-04T05:33:05.122" v="1315"/>
          <ac:spMkLst>
            <pc:docMk/>
            <pc:sldMk cId="1380287118" sldId="1960"/>
            <ac:spMk id="22" creationId="{CA983424-CDD0-4B42-A65F-56818F4B427A}"/>
          </ac:spMkLst>
        </pc:spChg>
        <pc:grpChg chg="add del mod">
          <ac:chgData name="Aurelien Domont" userId="6da7715ce44349b3" providerId="LiveId" clId="{0C8DD60E-6B28-4885-88BC-A772E727CD52}" dt="2021-05-04T05:33:04.904" v="1314" actId="478"/>
          <ac:grpSpMkLst>
            <pc:docMk/>
            <pc:sldMk cId="1380287118" sldId="1960"/>
            <ac:grpSpMk id="10" creationId="{4C89D12B-4C38-40FA-9564-D640F2314F87}"/>
          </ac:grpSpMkLst>
        </pc:grpChg>
        <pc:grpChg chg="add mod">
          <ac:chgData name="Aurelien Domont" userId="6da7715ce44349b3" providerId="LiveId" clId="{0C8DD60E-6B28-4885-88BC-A772E727CD52}" dt="2021-05-04T05:33:12.036" v="1318" actId="1076"/>
          <ac:grpSpMkLst>
            <pc:docMk/>
            <pc:sldMk cId="1380287118" sldId="1960"/>
            <ac:grpSpMk id="18" creationId="{99FD7371-EECA-4217-8626-DFE0882409DD}"/>
          </ac:grpSpMkLst>
        </pc:grpChg>
        <pc:grpChg chg="del">
          <ac:chgData name="Aurelien Domont" userId="6da7715ce44349b3" providerId="LiveId" clId="{0C8DD60E-6B28-4885-88BC-A772E727CD52}" dt="2021-05-04T05:28:17.064" v="1259" actId="478"/>
          <ac:grpSpMkLst>
            <pc:docMk/>
            <pc:sldMk cId="1380287118" sldId="1960"/>
            <ac:grpSpMk id="19" creationId="{C7AB9BFA-433A-432C-BFC7-C7665DBDDFE3}"/>
          </ac:grpSpMkLst>
        </pc:grpChg>
      </pc:sldChg>
      <pc:sldChg chg="del">
        <pc:chgData name="Aurelien Domont" userId="6da7715ce44349b3" providerId="LiveId" clId="{0C8DD60E-6B28-4885-88BC-A772E727CD52}" dt="2021-05-04T05:36:20.784" v="1457" actId="47"/>
        <pc:sldMkLst>
          <pc:docMk/>
          <pc:sldMk cId="2862939476" sldId="1961"/>
        </pc:sldMkLst>
      </pc:sldChg>
      <pc:sldChg chg="delSp modSp mod ord">
        <pc:chgData name="Aurelien Domont" userId="6da7715ce44349b3" providerId="LiveId" clId="{0C8DD60E-6B28-4885-88BC-A772E727CD52}" dt="2021-05-04T05:52:43.801" v="1680" actId="20577"/>
        <pc:sldMkLst>
          <pc:docMk/>
          <pc:sldMk cId="1371325009" sldId="1963"/>
        </pc:sldMkLst>
        <pc:spChg chg="mod">
          <ac:chgData name="Aurelien Domont" userId="6da7715ce44349b3" providerId="LiveId" clId="{0C8DD60E-6B28-4885-88BC-A772E727CD52}" dt="2021-05-04T05:37:10.144" v="1484" actId="1036"/>
          <ac:spMkLst>
            <pc:docMk/>
            <pc:sldMk cId="1371325009" sldId="1963"/>
            <ac:spMk id="8" creationId="{407D57FC-1E3C-4F63-B62E-81E211189816}"/>
          </ac:spMkLst>
        </pc:spChg>
        <pc:spChg chg="mod">
          <ac:chgData name="Aurelien Domont" userId="6da7715ce44349b3" providerId="LiveId" clId="{0C8DD60E-6B28-4885-88BC-A772E727CD52}" dt="2021-05-04T05:52:27.932" v="1670" actId="20577"/>
          <ac:spMkLst>
            <pc:docMk/>
            <pc:sldMk cId="1371325009" sldId="1963"/>
            <ac:spMk id="9" creationId="{4984D8FF-4E35-43B7-9830-027415890E55}"/>
          </ac:spMkLst>
        </pc:spChg>
        <pc:spChg chg="mod">
          <ac:chgData name="Aurelien Domont" userId="6da7715ce44349b3" providerId="LiveId" clId="{0C8DD60E-6B28-4885-88BC-A772E727CD52}" dt="2021-05-04T05:37:10.144" v="1484" actId="1036"/>
          <ac:spMkLst>
            <pc:docMk/>
            <pc:sldMk cId="1371325009" sldId="1963"/>
            <ac:spMk id="11" creationId="{442F33B3-4252-4D68-8C86-DAD2F49E8E8E}"/>
          </ac:spMkLst>
        </pc:spChg>
        <pc:spChg chg="mod">
          <ac:chgData name="Aurelien Domont" userId="6da7715ce44349b3" providerId="LiveId" clId="{0C8DD60E-6B28-4885-88BC-A772E727CD52}" dt="2021-05-04T05:52:35.547" v="1674" actId="20577"/>
          <ac:spMkLst>
            <pc:docMk/>
            <pc:sldMk cId="1371325009" sldId="1963"/>
            <ac:spMk id="12" creationId="{4C94399C-CF5D-4797-98CC-11395875D143}"/>
          </ac:spMkLst>
        </pc:spChg>
        <pc:spChg chg="mod">
          <ac:chgData name="Aurelien Domont" userId="6da7715ce44349b3" providerId="LiveId" clId="{0C8DD60E-6B28-4885-88BC-A772E727CD52}" dt="2021-05-04T05:36:48.788" v="1476" actId="20577"/>
          <ac:spMkLst>
            <pc:docMk/>
            <pc:sldMk cId="1371325009" sldId="1963"/>
            <ac:spMk id="16" creationId="{6C2BB713-9637-4B9B-938F-E9768876782A}"/>
          </ac:spMkLst>
        </pc:spChg>
        <pc:spChg chg="mod">
          <ac:chgData name="Aurelien Domont" userId="6da7715ce44349b3" providerId="LiveId" clId="{0C8DD60E-6B28-4885-88BC-A772E727CD52}" dt="2021-05-04T05:37:10.144" v="1484" actId="1036"/>
          <ac:spMkLst>
            <pc:docMk/>
            <pc:sldMk cId="1371325009" sldId="1963"/>
            <ac:spMk id="17" creationId="{261167C3-BA96-4007-A4FC-AC98A17A207A}"/>
          </ac:spMkLst>
        </pc:spChg>
        <pc:spChg chg="mod">
          <ac:chgData name="Aurelien Domont" userId="6da7715ce44349b3" providerId="LiveId" clId="{0C8DD60E-6B28-4885-88BC-A772E727CD52}" dt="2021-05-04T05:52:38.115" v="1676" actId="20577"/>
          <ac:spMkLst>
            <pc:docMk/>
            <pc:sldMk cId="1371325009" sldId="1963"/>
            <ac:spMk id="18" creationId="{EA7796F4-E9BF-4AAB-8836-35D494AAF833}"/>
          </ac:spMkLst>
        </pc:spChg>
        <pc:spChg chg="mod">
          <ac:chgData name="Aurelien Domont" userId="6da7715ce44349b3" providerId="LiveId" clId="{0C8DD60E-6B28-4885-88BC-A772E727CD52}" dt="2021-05-04T05:37:10.144" v="1484" actId="1036"/>
          <ac:spMkLst>
            <pc:docMk/>
            <pc:sldMk cId="1371325009" sldId="1963"/>
            <ac:spMk id="19" creationId="{51FD46F6-C53E-4953-AF27-35B3747C8C54}"/>
          </ac:spMkLst>
        </pc:spChg>
        <pc:spChg chg="mod">
          <ac:chgData name="Aurelien Domont" userId="6da7715ce44349b3" providerId="LiveId" clId="{0C8DD60E-6B28-4885-88BC-A772E727CD52}" dt="2021-05-04T05:52:40.615" v="1678" actId="20577"/>
          <ac:spMkLst>
            <pc:docMk/>
            <pc:sldMk cId="1371325009" sldId="1963"/>
            <ac:spMk id="20" creationId="{FC9188F6-B7C6-411F-BF5D-B70785DD1804}"/>
          </ac:spMkLst>
        </pc:spChg>
        <pc:spChg chg="mod">
          <ac:chgData name="Aurelien Domont" userId="6da7715ce44349b3" providerId="LiveId" clId="{0C8DD60E-6B28-4885-88BC-A772E727CD52}" dt="2021-05-04T05:37:10.144" v="1484" actId="1036"/>
          <ac:spMkLst>
            <pc:docMk/>
            <pc:sldMk cId="1371325009" sldId="1963"/>
            <ac:spMk id="21" creationId="{1DDD4A6F-C189-4BC6-AD10-2CFE1B4F4F30}"/>
          </ac:spMkLst>
        </pc:spChg>
        <pc:spChg chg="mod">
          <ac:chgData name="Aurelien Domont" userId="6da7715ce44349b3" providerId="LiveId" clId="{0C8DD60E-6B28-4885-88BC-A772E727CD52}" dt="2021-05-04T05:52:43.801" v="1680" actId="20577"/>
          <ac:spMkLst>
            <pc:docMk/>
            <pc:sldMk cId="1371325009" sldId="1963"/>
            <ac:spMk id="22" creationId="{C24CB158-CB75-4454-A6CE-58475E8F1A41}"/>
          </ac:spMkLst>
        </pc:spChg>
        <pc:spChg chg="del">
          <ac:chgData name="Aurelien Domont" userId="6da7715ce44349b3" providerId="LiveId" clId="{0C8DD60E-6B28-4885-88BC-A772E727CD52}" dt="2021-05-04T05:37:04.788" v="1478" actId="478"/>
          <ac:spMkLst>
            <pc:docMk/>
            <pc:sldMk cId="1371325009" sldId="1963"/>
            <ac:spMk id="28" creationId="{872276FB-F1AD-4243-8935-8E1F54FF7472}"/>
          </ac:spMkLst>
        </pc:spChg>
        <pc:picChg chg="mod">
          <ac:chgData name="Aurelien Domont" userId="6da7715ce44349b3" providerId="LiveId" clId="{0C8DD60E-6B28-4885-88BC-A772E727CD52}" dt="2021-05-04T05:37:10.144" v="1484" actId="1036"/>
          <ac:picMkLst>
            <pc:docMk/>
            <pc:sldMk cId="1371325009" sldId="1963"/>
            <ac:picMk id="23" creationId="{D30A2405-B273-4908-B54B-4EF6F7DF01FD}"/>
          </ac:picMkLst>
        </pc:picChg>
        <pc:picChg chg="mod">
          <ac:chgData name="Aurelien Domont" userId="6da7715ce44349b3" providerId="LiveId" clId="{0C8DD60E-6B28-4885-88BC-A772E727CD52}" dt="2021-05-04T05:37:10.144" v="1484" actId="1036"/>
          <ac:picMkLst>
            <pc:docMk/>
            <pc:sldMk cId="1371325009" sldId="1963"/>
            <ac:picMk id="24" creationId="{EA0DE43C-1371-4F2C-9CE8-CD192AA5029C}"/>
          </ac:picMkLst>
        </pc:picChg>
        <pc:picChg chg="mod">
          <ac:chgData name="Aurelien Domont" userId="6da7715ce44349b3" providerId="LiveId" clId="{0C8DD60E-6B28-4885-88BC-A772E727CD52}" dt="2021-05-04T05:37:10.144" v="1484" actId="1036"/>
          <ac:picMkLst>
            <pc:docMk/>
            <pc:sldMk cId="1371325009" sldId="1963"/>
            <ac:picMk id="25" creationId="{017EA857-94A9-4DF7-A3E2-768149DD22F7}"/>
          </ac:picMkLst>
        </pc:picChg>
        <pc:picChg chg="mod">
          <ac:chgData name="Aurelien Domont" userId="6da7715ce44349b3" providerId="LiveId" clId="{0C8DD60E-6B28-4885-88BC-A772E727CD52}" dt="2021-05-04T05:37:10.144" v="1484" actId="1036"/>
          <ac:picMkLst>
            <pc:docMk/>
            <pc:sldMk cId="1371325009" sldId="1963"/>
            <ac:picMk id="26" creationId="{5264A508-8085-4A6E-8CC9-E62FFCCAE312}"/>
          </ac:picMkLst>
        </pc:picChg>
        <pc:picChg chg="mod">
          <ac:chgData name="Aurelien Domont" userId="6da7715ce44349b3" providerId="LiveId" clId="{0C8DD60E-6B28-4885-88BC-A772E727CD52}" dt="2021-05-04T05:37:10.144" v="1484" actId="1036"/>
          <ac:picMkLst>
            <pc:docMk/>
            <pc:sldMk cId="1371325009" sldId="1963"/>
            <ac:picMk id="27" creationId="{D0564392-EC2C-46B9-9256-4FA17A9A9365}"/>
          </ac:picMkLst>
        </pc:picChg>
      </pc:sldChg>
      <pc:sldChg chg="del">
        <pc:chgData name="Aurelien Domont" userId="6da7715ce44349b3" providerId="LiveId" clId="{0C8DD60E-6B28-4885-88BC-A772E727CD52}" dt="2021-05-04T05:52:48.644" v="1681" actId="47"/>
        <pc:sldMkLst>
          <pc:docMk/>
          <pc:sldMk cId="2434730998" sldId="1964"/>
        </pc:sldMkLst>
      </pc:sldChg>
      <pc:sldChg chg="del">
        <pc:chgData name="Aurelien Domont" userId="6da7715ce44349b3" providerId="LiveId" clId="{0C8DD60E-6B28-4885-88BC-A772E727CD52}" dt="2021-05-04T05:52:49.623" v="1682" actId="47"/>
        <pc:sldMkLst>
          <pc:docMk/>
          <pc:sldMk cId="2118611170" sldId="1965"/>
        </pc:sldMkLst>
      </pc:sldChg>
      <pc:sldChg chg="del">
        <pc:chgData name="Aurelien Domont" userId="6da7715ce44349b3" providerId="LiveId" clId="{0C8DD60E-6B28-4885-88BC-A772E727CD52}" dt="2021-05-04T05:52:50.812" v="1683" actId="47"/>
        <pc:sldMkLst>
          <pc:docMk/>
          <pc:sldMk cId="708328687" sldId="1966"/>
        </pc:sldMkLst>
      </pc:sldChg>
      <pc:sldChg chg="del">
        <pc:chgData name="Aurelien Domont" userId="6da7715ce44349b3" providerId="LiveId" clId="{0C8DD60E-6B28-4885-88BC-A772E727CD52}" dt="2021-05-04T05:52:51.469" v="1684" actId="47"/>
        <pc:sldMkLst>
          <pc:docMk/>
          <pc:sldMk cId="3081941897" sldId="1967"/>
        </pc:sldMkLst>
      </pc:sldChg>
      <pc:sldChg chg="del">
        <pc:chgData name="Aurelien Domont" userId="6da7715ce44349b3" providerId="LiveId" clId="{0C8DD60E-6B28-4885-88BC-A772E727CD52}" dt="2021-05-04T05:52:52.177" v="1685" actId="47"/>
        <pc:sldMkLst>
          <pc:docMk/>
          <pc:sldMk cId="3440858440" sldId="1968"/>
        </pc:sldMkLst>
      </pc:sldChg>
      <pc:sldChg chg="addSp delSp modSp mod ord">
        <pc:chgData name="Aurelien Domont" userId="6da7715ce44349b3" providerId="LiveId" clId="{0C8DD60E-6B28-4885-88BC-A772E727CD52}" dt="2021-05-04T05:43:40.983" v="1634" actId="20577"/>
        <pc:sldMkLst>
          <pc:docMk/>
          <pc:sldMk cId="3954766657" sldId="1969"/>
        </pc:sldMkLst>
        <pc:spChg chg="mod">
          <ac:chgData name="Aurelien Domont" userId="6da7715ce44349b3" providerId="LiveId" clId="{0C8DD60E-6B28-4885-88BC-A772E727CD52}" dt="2021-05-04T05:40:50.369" v="1574"/>
          <ac:spMkLst>
            <pc:docMk/>
            <pc:sldMk cId="3954766657" sldId="1969"/>
            <ac:spMk id="15" creationId="{C4341316-45CA-4210-B6C6-F43BD35928B9}"/>
          </ac:spMkLst>
        </pc:spChg>
        <pc:spChg chg="mod">
          <ac:chgData name="Aurelien Domont" userId="6da7715ce44349b3" providerId="LiveId" clId="{0C8DD60E-6B28-4885-88BC-A772E727CD52}" dt="2021-05-04T05:43:40.983" v="1634" actId="20577"/>
          <ac:spMkLst>
            <pc:docMk/>
            <pc:sldMk cId="3954766657" sldId="1969"/>
            <ac:spMk id="16" creationId="{6C2BB713-9637-4B9B-938F-E9768876782A}"/>
          </ac:spMkLst>
        </pc:spChg>
        <pc:spChg chg="mod">
          <ac:chgData name="Aurelien Domont" userId="6da7715ce44349b3" providerId="LiveId" clId="{0C8DD60E-6B28-4885-88BC-A772E727CD52}" dt="2021-05-04T05:40:50.369" v="1574"/>
          <ac:spMkLst>
            <pc:docMk/>
            <pc:sldMk cId="3954766657" sldId="1969"/>
            <ac:spMk id="25" creationId="{F4A8C250-4181-42B1-995B-675B556C527E}"/>
          </ac:spMkLst>
        </pc:spChg>
        <pc:grpChg chg="add mod">
          <ac:chgData name="Aurelien Domont" userId="6da7715ce44349b3" providerId="LiveId" clId="{0C8DD60E-6B28-4885-88BC-A772E727CD52}" dt="2021-05-04T05:41:02.667" v="1580" actId="1076"/>
          <ac:grpSpMkLst>
            <pc:docMk/>
            <pc:sldMk cId="3954766657" sldId="1969"/>
            <ac:grpSpMk id="14" creationId="{CED553A7-F451-4C6B-80C1-B9C5D4F1F0BA}"/>
          </ac:grpSpMkLst>
        </pc:grpChg>
        <pc:grpChg chg="del">
          <ac:chgData name="Aurelien Domont" userId="6da7715ce44349b3" providerId="LiveId" clId="{0C8DD60E-6B28-4885-88BC-A772E727CD52}" dt="2021-05-04T05:40:03.428" v="1571" actId="478"/>
          <ac:grpSpMkLst>
            <pc:docMk/>
            <pc:sldMk cId="3954766657" sldId="1969"/>
            <ac:grpSpMk id="17" creationId="{9A6B022E-A876-40F2-BF76-6AB6F52EB941}"/>
          </ac:grpSpMkLst>
        </pc:grpChg>
        <pc:picChg chg="del">
          <ac:chgData name="Aurelien Domont" userId="6da7715ce44349b3" providerId="LiveId" clId="{0C8DD60E-6B28-4885-88BC-A772E727CD52}" dt="2021-05-04T05:40:03.428" v="1571" actId="478"/>
          <ac:picMkLst>
            <pc:docMk/>
            <pc:sldMk cId="3954766657" sldId="1969"/>
            <ac:picMk id="20" creationId="{A08E7AE5-9269-4C09-829D-C2259CD223E3}"/>
          </ac:picMkLst>
        </pc:picChg>
        <pc:picChg chg="add del mod">
          <ac:chgData name="Aurelien Domont" userId="6da7715ce44349b3" providerId="LiveId" clId="{0C8DD60E-6B28-4885-88BC-A772E727CD52}" dt="2021-05-04T05:42:11.187" v="1590" actId="478"/>
          <ac:picMkLst>
            <pc:docMk/>
            <pc:sldMk cId="3954766657" sldId="1969"/>
            <ac:picMk id="26" creationId="{AF37B3D1-419B-42E8-A4E6-A865438F21FC}"/>
          </ac:picMkLst>
        </pc:picChg>
        <pc:picChg chg="add mod">
          <ac:chgData name="Aurelien Domont" userId="6da7715ce44349b3" providerId="LiveId" clId="{0C8DD60E-6B28-4885-88BC-A772E727CD52}" dt="2021-05-04T05:42:38.461" v="1595" actId="1582"/>
          <ac:picMkLst>
            <pc:docMk/>
            <pc:sldMk cId="3954766657" sldId="1969"/>
            <ac:picMk id="27" creationId="{42FC7054-E0B3-48E6-B5E9-75265E6C0A69}"/>
          </ac:picMkLst>
        </pc:picChg>
      </pc:sldChg>
      <pc:sldChg chg="del">
        <pc:chgData name="Aurelien Domont" userId="6da7715ce44349b3" providerId="LiveId" clId="{0C8DD60E-6B28-4885-88BC-A772E727CD52}" dt="2021-05-04T05:52:56.901" v="1686" actId="47"/>
        <pc:sldMkLst>
          <pc:docMk/>
          <pc:sldMk cId="668275467" sldId="1970"/>
        </pc:sldMkLst>
      </pc:sldChg>
      <pc:sldChg chg="modSp mod ord">
        <pc:chgData name="Aurelien Domont" userId="6da7715ce44349b3" providerId="LiveId" clId="{0C8DD60E-6B28-4885-88BC-A772E727CD52}" dt="2021-05-04T06:00:20.660" v="1854"/>
        <pc:sldMkLst>
          <pc:docMk/>
          <pc:sldMk cId="529194852" sldId="1971"/>
        </pc:sldMkLst>
        <pc:spChg chg="mod">
          <ac:chgData name="Aurelien Domont" userId="6da7715ce44349b3" providerId="LiveId" clId="{0C8DD60E-6B28-4885-88BC-A772E727CD52}" dt="2021-05-04T05:55:14.948" v="1753" actId="20577"/>
          <ac:spMkLst>
            <pc:docMk/>
            <pc:sldMk cId="529194852" sldId="1971"/>
            <ac:spMk id="16" creationId="{6C2BB713-9637-4B9B-938F-E9768876782A}"/>
          </ac:spMkLst>
        </pc:spChg>
        <pc:spChg chg="mod">
          <ac:chgData name="Aurelien Domont" userId="6da7715ce44349b3" providerId="LiveId" clId="{0C8DD60E-6B28-4885-88BC-A772E727CD52}" dt="2021-05-04T05:55:59.115" v="1806" actId="20577"/>
          <ac:spMkLst>
            <pc:docMk/>
            <pc:sldMk cId="529194852" sldId="1971"/>
            <ac:spMk id="21" creationId="{8B37C3BA-E919-4CC9-9369-D79EA2DD968A}"/>
          </ac:spMkLst>
        </pc:spChg>
      </pc:sldChg>
      <pc:sldChg chg="addSp delSp modSp add del mod ord">
        <pc:chgData name="Aurelien Domont" userId="6da7715ce44349b3" providerId="LiveId" clId="{0C8DD60E-6B28-4885-88BC-A772E727CD52}" dt="2021-05-04T06:01:08.391" v="1856" actId="47"/>
        <pc:sldMkLst>
          <pc:docMk/>
          <pc:sldMk cId="2410991361" sldId="1972"/>
        </pc:sldMkLst>
        <pc:spChg chg="mod">
          <ac:chgData name="Aurelien Domont" userId="6da7715ce44349b3" providerId="LiveId" clId="{0C8DD60E-6B28-4885-88BC-A772E727CD52}" dt="2021-05-04T05:58:03.169" v="1836"/>
          <ac:spMkLst>
            <pc:docMk/>
            <pc:sldMk cId="2410991361" sldId="1972"/>
            <ac:spMk id="16" creationId="{6C2BB713-9637-4B9B-938F-E9768876782A}"/>
          </ac:spMkLst>
        </pc:spChg>
        <pc:spChg chg="del">
          <ac:chgData name="Aurelien Domont" userId="6da7715ce44349b3" providerId="LiveId" clId="{0C8DD60E-6B28-4885-88BC-A772E727CD52}" dt="2021-05-04T05:58:16.113" v="1838" actId="478"/>
          <ac:spMkLst>
            <pc:docMk/>
            <pc:sldMk cId="2410991361" sldId="1972"/>
            <ac:spMk id="18" creationId="{9ADECD9A-B271-4DF6-8162-DA9C50D26EEE}"/>
          </ac:spMkLst>
        </pc:spChg>
        <pc:spChg chg="del">
          <ac:chgData name="Aurelien Domont" userId="6da7715ce44349b3" providerId="LiveId" clId="{0C8DD60E-6B28-4885-88BC-A772E727CD52}" dt="2021-05-04T05:58:16.113" v="1838" actId="478"/>
          <ac:spMkLst>
            <pc:docMk/>
            <pc:sldMk cId="2410991361" sldId="1972"/>
            <ac:spMk id="19" creationId="{4AD4B22A-3012-4F90-A25D-BFAD08973595}"/>
          </ac:spMkLst>
        </pc:spChg>
        <pc:spChg chg="del">
          <ac:chgData name="Aurelien Domont" userId="6da7715ce44349b3" providerId="LiveId" clId="{0C8DD60E-6B28-4885-88BC-A772E727CD52}" dt="2021-05-04T05:58:16.113" v="1838" actId="478"/>
          <ac:spMkLst>
            <pc:docMk/>
            <pc:sldMk cId="2410991361" sldId="1972"/>
            <ac:spMk id="20" creationId="{85E2A440-E4C0-439F-A9B9-4E1A90E5C2B0}"/>
          </ac:spMkLst>
        </pc:spChg>
        <pc:spChg chg="del">
          <ac:chgData name="Aurelien Domont" userId="6da7715ce44349b3" providerId="LiveId" clId="{0C8DD60E-6B28-4885-88BC-A772E727CD52}" dt="2021-05-04T05:58:16.113" v="1838" actId="478"/>
          <ac:spMkLst>
            <pc:docMk/>
            <pc:sldMk cId="2410991361" sldId="1972"/>
            <ac:spMk id="21" creationId="{A7CFB53C-979D-4013-BC8D-887030B50F78}"/>
          </ac:spMkLst>
        </pc:spChg>
        <pc:spChg chg="del">
          <ac:chgData name="Aurelien Domont" userId="6da7715ce44349b3" providerId="LiveId" clId="{0C8DD60E-6B28-4885-88BC-A772E727CD52}" dt="2021-05-04T05:58:16.113" v="1838" actId="478"/>
          <ac:spMkLst>
            <pc:docMk/>
            <pc:sldMk cId="2410991361" sldId="1972"/>
            <ac:spMk id="22" creationId="{950BAF9D-4048-4C0A-9264-EB984287FAF1}"/>
          </ac:spMkLst>
        </pc:spChg>
        <pc:spChg chg="del">
          <ac:chgData name="Aurelien Domont" userId="6da7715ce44349b3" providerId="LiveId" clId="{0C8DD60E-6B28-4885-88BC-A772E727CD52}" dt="2021-05-04T05:58:16.113" v="1838" actId="478"/>
          <ac:spMkLst>
            <pc:docMk/>
            <pc:sldMk cId="2410991361" sldId="1972"/>
            <ac:spMk id="23" creationId="{72311B61-89C6-430E-9F91-AFF4EF4AFBC3}"/>
          </ac:spMkLst>
        </pc:spChg>
        <pc:spChg chg="del">
          <ac:chgData name="Aurelien Domont" userId="6da7715ce44349b3" providerId="LiveId" clId="{0C8DD60E-6B28-4885-88BC-A772E727CD52}" dt="2021-05-04T05:58:16.113" v="1838" actId="478"/>
          <ac:spMkLst>
            <pc:docMk/>
            <pc:sldMk cId="2410991361" sldId="1972"/>
            <ac:spMk id="24" creationId="{493F8E47-D954-40A2-BC66-36552BDEC999}"/>
          </ac:spMkLst>
        </pc:spChg>
        <pc:spChg chg="del">
          <ac:chgData name="Aurelien Domont" userId="6da7715ce44349b3" providerId="LiveId" clId="{0C8DD60E-6B28-4885-88BC-A772E727CD52}" dt="2021-05-04T05:58:16.113" v="1838" actId="478"/>
          <ac:spMkLst>
            <pc:docMk/>
            <pc:sldMk cId="2410991361" sldId="1972"/>
            <ac:spMk id="25" creationId="{7F61B825-2CDE-4FB7-B1E2-BD2D803C0EE6}"/>
          </ac:spMkLst>
        </pc:spChg>
        <pc:spChg chg="del">
          <ac:chgData name="Aurelien Domont" userId="6da7715ce44349b3" providerId="LiveId" clId="{0C8DD60E-6B28-4885-88BC-A772E727CD52}" dt="2021-05-04T05:58:16.113" v="1838" actId="478"/>
          <ac:spMkLst>
            <pc:docMk/>
            <pc:sldMk cId="2410991361" sldId="1972"/>
            <ac:spMk id="26" creationId="{713E82D0-2682-48DF-BB79-867E940C5D3D}"/>
          </ac:spMkLst>
        </pc:spChg>
        <pc:spChg chg="del">
          <ac:chgData name="Aurelien Domont" userId="6da7715ce44349b3" providerId="LiveId" clId="{0C8DD60E-6B28-4885-88BC-A772E727CD52}" dt="2021-05-04T05:58:16.113" v="1838" actId="478"/>
          <ac:spMkLst>
            <pc:docMk/>
            <pc:sldMk cId="2410991361" sldId="1972"/>
            <ac:spMk id="27" creationId="{9C693705-92F4-4E40-9C7C-FC332031176A}"/>
          </ac:spMkLst>
        </pc:spChg>
        <pc:spChg chg="del">
          <ac:chgData name="Aurelien Domont" userId="6da7715ce44349b3" providerId="LiveId" clId="{0C8DD60E-6B28-4885-88BC-A772E727CD52}" dt="2021-05-04T05:58:16.113" v="1838" actId="478"/>
          <ac:spMkLst>
            <pc:docMk/>
            <pc:sldMk cId="2410991361" sldId="1972"/>
            <ac:spMk id="28" creationId="{646159D3-2D91-48A1-8103-CBD5D5C3F00B}"/>
          </ac:spMkLst>
        </pc:spChg>
        <pc:spChg chg="add mod">
          <ac:chgData name="Aurelien Domont" userId="6da7715ce44349b3" providerId="LiveId" clId="{0C8DD60E-6B28-4885-88BC-A772E727CD52}" dt="2021-05-04T05:58:28.106" v="1839"/>
          <ac:spMkLst>
            <pc:docMk/>
            <pc:sldMk cId="2410991361" sldId="1972"/>
            <ac:spMk id="30" creationId="{56C4162C-88F8-480B-B9E6-B8F341749952}"/>
          </ac:spMkLst>
        </pc:spChg>
        <pc:spChg chg="add mod">
          <ac:chgData name="Aurelien Domont" userId="6da7715ce44349b3" providerId="LiveId" clId="{0C8DD60E-6B28-4885-88BC-A772E727CD52}" dt="2021-05-04T05:58:28.106" v="1839"/>
          <ac:spMkLst>
            <pc:docMk/>
            <pc:sldMk cId="2410991361" sldId="1972"/>
            <ac:spMk id="31" creationId="{E23D86A3-8C6E-411A-AA8E-9E5117EBF7BD}"/>
          </ac:spMkLst>
        </pc:spChg>
        <pc:spChg chg="add mod">
          <ac:chgData name="Aurelien Domont" userId="6da7715ce44349b3" providerId="LiveId" clId="{0C8DD60E-6B28-4885-88BC-A772E727CD52}" dt="2021-05-04T05:58:28.106" v="1839"/>
          <ac:spMkLst>
            <pc:docMk/>
            <pc:sldMk cId="2410991361" sldId="1972"/>
            <ac:spMk id="32" creationId="{5544F75C-B08D-4B9B-8CE0-5AD3A92C0FFD}"/>
          </ac:spMkLst>
        </pc:spChg>
        <pc:spChg chg="add mod">
          <ac:chgData name="Aurelien Domont" userId="6da7715ce44349b3" providerId="LiveId" clId="{0C8DD60E-6B28-4885-88BC-A772E727CD52}" dt="2021-05-04T05:58:28.106" v="1839"/>
          <ac:spMkLst>
            <pc:docMk/>
            <pc:sldMk cId="2410991361" sldId="1972"/>
            <ac:spMk id="38" creationId="{8A0CEDC5-A228-408A-8BAD-A459282B7471}"/>
          </ac:spMkLst>
        </pc:spChg>
        <pc:spChg chg="add mod">
          <ac:chgData name="Aurelien Domont" userId="6da7715ce44349b3" providerId="LiveId" clId="{0C8DD60E-6B28-4885-88BC-A772E727CD52}" dt="2021-05-04T05:58:28.106" v="1839"/>
          <ac:spMkLst>
            <pc:docMk/>
            <pc:sldMk cId="2410991361" sldId="1972"/>
            <ac:spMk id="39" creationId="{8C167300-9C1B-4523-999B-EFB0031297C6}"/>
          </ac:spMkLst>
        </pc:spChg>
        <pc:spChg chg="add mod">
          <ac:chgData name="Aurelien Domont" userId="6da7715ce44349b3" providerId="LiveId" clId="{0C8DD60E-6B28-4885-88BC-A772E727CD52}" dt="2021-05-04T05:58:28.106" v="1839"/>
          <ac:spMkLst>
            <pc:docMk/>
            <pc:sldMk cId="2410991361" sldId="1972"/>
            <ac:spMk id="40" creationId="{0A1589DF-62B2-4232-9930-8D9120500386}"/>
          </ac:spMkLst>
        </pc:spChg>
        <pc:spChg chg="add mod">
          <ac:chgData name="Aurelien Domont" userId="6da7715ce44349b3" providerId="LiveId" clId="{0C8DD60E-6B28-4885-88BC-A772E727CD52}" dt="2021-05-04T05:58:28.106" v="1839"/>
          <ac:spMkLst>
            <pc:docMk/>
            <pc:sldMk cId="2410991361" sldId="1972"/>
            <ac:spMk id="41" creationId="{AEA36917-9CB8-4CB3-A4FB-8C9EE8793FB7}"/>
          </ac:spMkLst>
        </pc:spChg>
        <pc:spChg chg="add mod">
          <ac:chgData name="Aurelien Domont" userId="6da7715ce44349b3" providerId="LiveId" clId="{0C8DD60E-6B28-4885-88BC-A772E727CD52}" dt="2021-05-04T05:58:28.106" v="1839"/>
          <ac:spMkLst>
            <pc:docMk/>
            <pc:sldMk cId="2410991361" sldId="1972"/>
            <ac:spMk id="42" creationId="{25C80A4E-0284-4138-B6B6-490F4A659AE6}"/>
          </ac:spMkLst>
        </pc:spChg>
        <pc:spChg chg="add mod">
          <ac:chgData name="Aurelien Domont" userId="6da7715ce44349b3" providerId="LiveId" clId="{0C8DD60E-6B28-4885-88BC-A772E727CD52}" dt="2021-05-04T05:58:28.106" v="1839"/>
          <ac:spMkLst>
            <pc:docMk/>
            <pc:sldMk cId="2410991361" sldId="1972"/>
            <ac:spMk id="43" creationId="{99A25498-C3CB-4BCE-98E2-1B62CD64949B}"/>
          </ac:spMkLst>
        </pc:spChg>
        <pc:spChg chg="add mod">
          <ac:chgData name="Aurelien Domont" userId="6da7715ce44349b3" providerId="LiveId" clId="{0C8DD60E-6B28-4885-88BC-A772E727CD52}" dt="2021-05-04T05:58:28.106" v="1839"/>
          <ac:spMkLst>
            <pc:docMk/>
            <pc:sldMk cId="2410991361" sldId="1972"/>
            <ac:spMk id="44" creationId="{4D46A395-27C9-4CFF-8CEE-9A07776DA561}"/>
          </ac:spMkLst>
        </pc:spChg>
        <pc:grpChg chg="del">
          <ac:chgData name="Aurelien Domont" userId="6da7715ce44349b3" providerId="LiveId" clId="{0C8DD60E-6B28-4885-88BC-A772E727CD52}" dt="2021-05-04T05:58:05.100" v="1837" actId="478"/>
          <ac:grpSpMkLst>
            <pc:docMk/>
            <pc:sldMk cId="2410991361" sldId="1972"/>
            <ac:grpSpMk id="33" creationId="{26F29068-4EF7-4272-A03E-548B97F45CA6}"/>
          </ac:grpSpMkLst>
        </pc:grpChg>
        <pc:picChg chg="add mod">
          <ac:chgData name="Aurelien Domont" userId="6da7715ce44349b3" providerId="LiveId" clId="{0C8DD60E-6B28-4885-88BC-A772E727CD52}" dt="2021-05-04T05:57:58.243" v="1835" actId="1076"/>
          <ac:picMkLst>
            <pc:docMk/>
            <pc:sldMk cId="2410991361" sldId="1972"/>
            <ac:picMk id="29" creationId="{DB05BC5A-F86F-4051-8832-8C10FB44CA81}"/>
          </ac:picMkLst>
        </pc:picChg>
      </pc:sldChg>
      <pc:sldChg chg="add del">
        <pc:chgData name="Aurelien Domont" userId="6da7715ce44349b3" providerId="LiveId" clId="{0C8DD60E-6B28-4885-88BC-A772E727CD52}" dt="2021-05-04T06:01:18.410" v="1857" actId="47"/>
        <pc:sldMkLst>
          <pc:docMk/>
          <pc:sldMk cId="2653177920" sldId="1973"/>
        </pc:sldMkLst>
      </pc:sldChg>
      <pc:sldChg chg="add del">
        <pc:chgData name="Aurelien Domont" userId="6da7715ce44349b3" providerId="LiveId" clId="{0C8DD60E-6B28-4885-88BC-A772E727CD52}" dt="2021-05-04T06:01:18.410" v="1857" actId="47"/>
        <pc:sldMkLst>
          <pc:docMk/>
          <pc:sldMk cId="1373862011" sldId="1974"/>
        </pc:sldMkLst>
      </pc:sldChg>
      <pc:sldChg chg="add del">
        <pc:chgData name="Aurelien Domont" userId="6da7715ce44349b3" providerId="LiveId" clId="{0C8DD60E-6B28-4885-88BC-A772E727CD52}" dt="2021-05-04T06:01:18.410" v="1857" actId="47"/>
        <pc:sldMkLst>
          <pc:docMk/>
          <pc:sldMk cId="2119972109" sldId="1975"/>
        </pc:sldMkLst>
      </pc:sldChg>
      <pc:sldChg chg="add del">
        <pc:chgData name="Aurelien Domont" userId="6da7715ce44349b3" providerId="LiveId" clId="{0C8DD60E-6B28-4885-88BC-A772E727CD52}" dt="2021-05-04T06:01:18.410" v="1857" actId="47"/>
        <pc:sldMkLst>
          <pc:docMk/>
          <pc:sldMk cId="2078645186" sldId="1976"/>
        </pc:sldMkLst>
      </pc:sldChg>
      <pc:sldChg chg="add del">
        <pc:chgData name="Aurelien Domont" userId="6da7715ce44349b3" providerId="LiveId" clId="{0C8DD60E-6B28-4885-88BC-A772E727CD52}" dt="2021-05-04T06:01:18.410" v="1857" actId="47"/>
        <pc:sldMkLst>
          <pc:docMk/>
          <pc:sldMk cId="2474191175" sldId="1977"/>
        </pc:sldMkLst>
      </pc:sldChg>
      <pc:sldChg chg="add del">
        <pc:chgData name="Aurelien Domont" userId="6da7715ce44349b3" providerId="LiveId" clId="{0C8DD60E-6B28-4885-88BC-A772E727CD52}" dt="2021-05-04T06:01:18.410" v="1857" actId="47"/>
        <pc:sldMkLst>
          <pc:docMk/>
          <pc:sldMk cId="4089601017" sldId="1978"/>
        </pc:sldMkLst>
      </pc:sldChg>
      <pc:sldChg chg="add del">
        <pc:chgData name="Aurelien Domont" userId="6da7715ce44349b3" providerId="LiveId" clId="{0C8DD60E-6B28-4885-88BC-A772E727CD52}" dt="2021-05-04T06:01:18.410" v="1857" actId="47"/>
        <pc:sldMkLst>
          <pc:docMk/>
          <pc:sldMk cId="2403768916" sldId="1979"/>
        </pc:sldMkLst>
      </pc:sldChg>
      <pc:sldChg chg="add del">
        <pc:chgData name="Aurelien Domont" userId="6da7715ce44349b3" providerId="LiveId" clId="{0C8DD60E-6B28-4885-88BC-A772E727CD52}" dt="2021-05-04T06:01:18.410" v="1857" actId="47"/>
        <pc:sldMkLst>
          <pc:docMk/>
          <pc:sldMk cId="3828206272" sldId="1980"/>
        </pc:sldMkLst>
      </pc:sldChg>
      <pc:sldChg chg="add del">
        <pc:chgData name="Aurelien Domont" userId="6da7715ce44349b3" providerId="LiveId" clId="{0C8DD60E-6B28-4885-88BC-A772E727CD52}" dt="2021-05-04T06:01:18.410" v="1857" actId="47"/>
        <pc:sldMkLst>
          <pc:docMk/>
          <pc:sldMk cId="1691820959" sldId="1981"/>
        </pc:sldMkLst>
      </pc:sldChg>
      <pc:sldChg chg="add del">
        <pc:chgData name="Aurelien Domont" userId="6da7715ce44349b3" providerId="LiveId" clId="{0C8DD60E-6B28-4885-88BC-A772E727CD52}" dt="2021-05-04T06:01:18.410" v="1857" actId="47"/>
        <pc:sldMkLst>
          <pc:docMk/>
          <pc:sldMk cId="3425621628" sldId="1982"/>
        </pc:sldMkLst>
      </pc:sldChg>
      <pc:sldChg chg="add del">
        <pc:chgData name="Aurelien Domont" userId="6da7715ce44349b3" providerId="LiveId" clId="{0C8DD60E-6B28-4885-88BC-A772E727CD52}" dt="2021-05-04T06:01:18.410" v="1857" actId="47"/>
        <pc:sldMkLst>
          <pc:docMk/>
          <pc:sldMk cId="978935005" sldId="1983"/>
        </pc:sldMkLst>
      </pc:sldChg>
      <pc:sldChg chg="add del">
        <pc:chgData name="Aurelien Domont" userId="6da7715ce44349b3" providerId="LiveId" clId="{0C8DD60E-6B28-4885-88BC-A772E727CD52}" dt="2021-05-04T06:01:18.410" v="1857" actId="47"/>
        <pc:sldMkLst>
          <pc:docMk/>
          <pc:sldMk cId="2297949056" sldId="1984"/>
        </pc:sldMkLst>
      </pc:sldChg>
      <pc:sldChg chg="add del">
        <pc:chgData name="Aurelien Domont" userId="6da7715ce44349b3" providerId="LiveId" clId="{0C8DD60E-6B28-4885-88BC-A772E727CD52}" dt="2021-05-04T06:01:18.410" v="1857" actId="47"/>
        <pc:sldMkLst>
          <pc:docMk/>
          <pc:sldMk cId="1823605290" sldId="1985"/>
        </pc:sldMkLst>
      </pc:sldChg>
      <pc:sldChg chg="add del">
        <pc:chgData name="Aurelien Domont" userId="6da7715ce44349b3" providerId="LiveId" clId="{0C8DD60E-6B28-4885-88BC-A772E727CD52}" dt="2021-05-04T06:01:18.410" v="1857" actId="47"/>
        <pc:sldMkLst>
          <pc:docMk/>
          <pc:sldMk cId="1026744296" sldId="1986"/>
        </pc:sldMkLst>
      </pc:sldChg>
      <pc:sldChg chg="add del">
        <pc:chgData name="Aurelien Domont" userId="6da7715ce44349b3" providerId="LiveId" clId="{0C8DD60E-6B28-4885-88BC-A772E727CD52}" dt="2021-05-04T06:01:18.410" v="1857" actId="47"/>
        <pc:sldMkLst>
          <pc:docMk/>
          <pc:sldMk cId="1357942581" sldId="1987"/>
        </pc:sldMkLst>
      </pc:sldChg>
      <pc:sldChg chg="add del">
        <pc:chgData name="Aurelien Domont" userId="6da7715ce44349b3" providerId="LiveId" clId="{0C8DD60E-6B28-4885-88BC-A772E727CD52}" dt="2021-05-04T06:01:18.410" v="1857" actId="47"/>
        <pc:sldMkLst>
          <pc:docMk/>
          <pc:sldMk cId="1940386508" sldId="1988"/>
        </pc:sldMkLst>
      </pc:sldChg>
      <pc:sldChg chg="add del">
        <pc:chgData name="Aurelien Domont" userId="6da7715ce44349b3" providerId="LiveId" clId="{0C8DD60E-6B28-4885-88BC-A772E727CD52}" dt="2021-05-04T06:01:18.410" v="1857" actId="47"/>
        <pc:sldMkLst>
          <pc:docMk/>
          <pc:sldMk cId="2299758324" sldId="1989"/>
        </pc:sldMkLst>
      </pc:sldChg>
      <pc:sldChg chg="add del">
        <pc:chgData name="Aurelien Domont" userId="6da7715ce44349b3" providerId="LiveId" clId="{0C8DD60E-6B28-4885-88BC-A772E727CD52}" dt="2021-05-04T06:01:18.410" v="1857" actId="47"/>
        <pc:sldMkLst>
          <pc:docMk/>
          <pc:sldMk cId="1124419684" sldId="1990"/>
        </pc:sldMkLst>
      </pc:sldChg>
      <pc:sldChg chg="add del">
        <pc:chgData name="Aurelien Domont" userId="6da7715ce44349b3" providerId="LiveId" clId="{0C8DD60E-6B28-4885-88BC-A772E727CD52}" dt="2021-05-04T06:01:18.410" v="1857" actId="47"/>
        <pc:sldMkLst>
          <pc:docMk/>
          <pc:sldMk cId="205289071" sldId="1991"/>
        </pc:sldMkLst>
      </pc:sldChg>
      <pc:sldChg chg="add del">
        <pc:chgData name="Aurelien Domont" userId="6da7715ce44349b3" providerId="LiveId" clId="{0C8DD60E-6B28-4885-88BC-A772E727CD52}" dt="2021-05-04T06:01:18.410" v="1857" actId="47"/>
        <pc:sldMkLst>
          <pc:docMk/>
          <pc:sldMk cId="3239629277" sldId="1992"/>
        </pc:sldMkLst>
      </pc:sldChg>
      <pc:sldChg chg="add del">
        <pc:chgData name="Aurelien Domont" userId="6da7715ce44349b3" providerId="LiveId" clId="{0C8DD60E-6B28-4885-88BC-A772E727CD52}" dt="2021-05-04T06:01:18.410" v="1857" actId="47"/>
        <pc:sldMkLst>
          <pc:docMk/>
          <pc:sldMk cId="1752228771" sldId="1993"/>
        </pc:sldMkLst>
      </pc:sldChg>
      <pc:sldChg chg="add del">
        <pc:chgData name="Aurelien Domont" userId="6da7715ce44349b3" providerId="LiveId" clId="{0C8DD60E-6B28-4885-88BC-A772E727CD52}" dt="2021-05-04T06:01:18.410" v="1857" actId="47"/>
        <pc:sldMkLst>
          <pc:docMk/>
          <pc:sldMk cId="1158613024" sldId="1994"/>
        </pc:sldMkLst>
      </pc:sldChg>
      <pc:sldChg chg="add del">
        <pc:chgData name="Aurelien Domont" userId="6da7715ce44349b3" providerId="LiveId" clId="{0C8DD60E-6B28-4885-88BC-A772E727CD52}" dt="2021-05-04T06:01:18.410" v="1857" actId="47"/>
        <pc:sldMkLst>
          <pc:docMk/>
          <pc:sldMk cId="3526698175" sldId="1995"/>
        </pc:sldMkLst>
      </pc:sldChg>
      <pc:sldChg chg="add del">
        <pc:chgData name="Aurelien Domont" userId="6da7715ce44349b3" providerId="LiveId" clId="{0C8DD60E-6B28-4885-88BC-A772E727CD52}" dt="2021-05-04T06:01:18.410" v="1857" actId="47"/>
        <pc:sldMkLst>
          <pc:docMk/>
          <pc:sldMk cId="3049023689" sldId="1996"/>
        </pc:sldMkLst>
      </pc:sldChg>
      <pc:sldChg chg="add del">
        <pc:chgData name="Aurelien Domont" userId="6da7715ce44349b3" providerId="LiveId" clId="{0C8DD60E-6B28-4885-88BC-A772E727CD52}" dt="2021-05-04T06:01:18.410" v="1857" actId="47"/>
        <pc:sldMkLst>
          <pc:docMk/>
          <pc:sldMk cId="1142596438" sldId="1997"/>
        </pc:sldMkLst>
      </pc:sldChg>
      <pc:sldChg chg="add del">
        <pc:chgData name="Aurelien Domont" userId="6da7715ce44349b3" providerId="LiveId" clId="{0C8DD60E-6B28-4885-88BC-A772E727CD52}" dt="2021-05-04T06:01:18.410" v="1857" actId="47"/>
        <pc:sldMkLst>
          <pc:docMk/>
          <pc:sldMk cId="2206188045" sldId="1998"/>
        </pc:sldMkLst>
      </pc:sldChg>
      <pc:sldChg chg="add del">
        <pc:chgData name="Aurelien Domont" userId="6da7715ce44349b3" providerId="LiveId" clId="{0C8DD60E-6B28-4885-88BC-A772E727CD52}" dt="2021-05-04T06:01:18.410" v="1857" actId="47"/>
        <pc:sldMkLst>
          <pc:docMk/>
          <pc:sldMk cId="3928808042" sldId="1999"/>
        </pc:sldMkLst>
      </pc:sldChg>
      <pc:sldChg chg="add del">
        <pc:chgData name="Aurelien Domont" userId="6da7715ce44349b3" providerId="LiveId" clId="{0C8DD60E-6B28-4885-88BC-A772E727CD52}" dt="2021-05-04T06:01:18.410" v="1857" actId="47"/>
        <pc:sldMkLst>
          <pc:docMk/>
          <pc:sldMk cId="3600611330" sldId="2000"/>
        </pc:sldMkLst>
      </pc:sldChg>
      <pc:sldChg chg="add del">
        <pc:chgData name="Aurelien Domont" userId="6da7715ce44349b3" providerId="LiveId" clId="{0C8DD60E-6B28-4885-88BC-A772E727CD52}" dt="2021-05-04T06:01:18.410" v="1857" actId="47"/>
        <pc:sldMkLst>
          <pc:docMk/>
          <pc:sldMk cId="494454371" sldId="2001"/>
        </pc:sldMkLst>
      </pc:sldChg>
      <pc:sldChg chg="add del">
        <pc:chgData name="Aurelien Domont" userId="6da7715ce44349b3" providerId="LiveId" clId="{0C8DD60E-6B28-4885-88BC-A772E727CD52}" dt="2021-05-04T06:01:18.410" v="1857" actId="47"/>
        <pc:sldMkLst>
          <pc:docMk/>
          <pc:sldMk cId="3160285512" sldId="2002"/>
        </pc:sldMkLst>
      </pc:sldChg>
      <pc:sldChg chg="add del">
        <pc:chgData name="Aurelien Domont" userId="6da7715ce44349b3" providerId="LiveId" clId="{0C8DD60E-6B28-4885-88BC-A772E727CD52}" dt="2021-05-04T06:01:18.410" v="1857" actId="47"/>
        <pc:sldMkLst>
          <pc:docMk/>
          <pc:sldMk cId="2011482222" sldId="2003"/>
        </pc:sldMkLst>
      </pc:sldChg>
      <pc:sldChg chg="add del">
        <pc:chgData name="Aurelien Domont" userId="6da7715ce44349b3" providerId="LiveId" clId="{0C8DD60E-6B28-4885-88BC-A772E727CD52}" dt="2021-05-04T06:01:18.410" v="1857" actId="47"/>
        <pc:sldMkLst>
          <pc:docMk/>
          <pc:sldMk cId="235415864" sldId="2004"/>
        </pc:sldMkLst>
      </pc:sldChg>
      <pc:sldChg chg="add del">
        <pc:chgData name="Aurelien Domont" userId="6da7715ce44349b3" providerId="LiveId" clId="{0C8DD60E-6B28-4885-88BC-A772E727CD52}" dt="2021-05-04T06:01:18.410" v="1857" actId="47"/>
        <pc:sldMkLst>
          <pc:docMk/>
          <pc:sldMk cId="673232207" sldId="2005"/>
        </pc:sldMkLst>
      </pc:sldChg>
      <pc:sldChg chg="add del">
        <pc:chgData name="Aurelien Domont" userId="6da7715ce44349b3" providerId="LiveId" clId="{0C8DD60E-6B28-4885-88BC-A772E727CD52}" dt="2021-05-04T06:01:18.410" v="1857" actId="47"/>
        <pc:sldMkLst>
          <pc:docMk/>
          <pc:sldMk cId="539105764" sldId="2006"/>
        </pc:sldMkLst>
      </pc:sldChg>
      <pc:sldChg chg="add del">
        <pc:chgData name="Aurelien Domont" userId="6da7715ce44349b3" providerId="LiveId" clId="{0C8DD60E-6B28-4885-88BC-A772E727CD52}" dt="2021-05-04T06:01:18.410" v="1857" actId="47"/>
        <pc:sldMkLst>
          <pc:docMk/>
          <pc:sldMk cId="1585643901" sldId="2007"/>
        </pc:sldMkLst>
      </pc:sldChg>
      <pc:sldChg chg="add del">
        <pc:chgData name="Aurelien Domont" userId="6da7715ce44349b3" providerId="LiveId" clId="{0C8DD60E-6B28-4885-88BC-A772E727CD52}" dt="2021-05-04T06:01:18.410" v="1857" actId="47"/>
        <pc:sldMkLst>
          <pc:docMk/>
          <pc:sldMk cId="153376507" sldId="2008"/>
        </pc:sldMkLst>
      </pc:sldChg>
      <pc:sldChg chg="add del">
        <pc:chgData name="Aurelien Domont" userId="6da7715ce44349b3" providerId="LiveId" clId="{0C8DD60E-6B28-4885-88BC-A772E727CD52}" dt="2021-05-04T06:01:18.410" v="1857" actId="47"/>
        <pc:sldMkLst>
          <pc:docMk/>
          <pc:sldMk cId="938136842" sldId="2010"/>
        </pc:sldMkLst>
      </pc:sldChg>
      <pc:sldChg chg="add del">
        <pc:chgData name="Aurelien Domont" userId="6da7715ce44349b3" providerId="LiveId" clId="{0C8DD60E-6B28-4885-88BC-A772E727CD52}" dt="2021-05-04T06:01:18.410" v="1857" actId="47"/>
        <pc:sldMkLst>
          <pc:docMk/>
          <pc:sldMk cId="2968255840" sldId="2011"/>
        </pc:sldMkLst>
      </pc:sldChg>
      <pc:sldChg chg="add del">
        <pc:chgData name="Aurelien Domont" userId="6da7715ce44349b3" providerId="LiveId" clId="{0C8DD60E-6B28-4885-88BC-A772E727CD52}" dt="2021-05-04T06:01:18.410" v="1857" actId="47"/>
        <pc:sldMkLst>
          <pc:docMk/>
          <pc:sldMk cId="2300727758" sldId="2012"/>
        </pc:sldMkLst>
      </pc:sldChg>
      <pc:sldChg chg="add del">
        <pc:chgData name="Aurelien Domont" userId="6da7715ce44349b3" providerId="LiveId" clId="{0C8DD60E-6B28-4885-88BC-A772E727CD52}" dt="2021-05-04T06:01:18.410" v="1857" actId="47"/>
        <pc:sldMkLst>
          <pc:docMk/>
          <pc:sldMk cId="2690714282" sldId="2013"/>
        </pc:sldMkLst>
      </pc:sldChg>
      <pc:sldChg chg="add del">
        <pc:chgData name="Aurelien Domont" userId="6da7715ce44349b3" providerId="LiveId" clId="{0C8DD60E-6B28-4885-88BC-A772E727CD52}" dt="2021-05-04T06:01:18.410" v="1857" actId="47"/>
        <pc:sldMkLst>
          <pc:docMk/>
          <pc:sldMk cId="2140429196" sldId="2014"/>
        </pc:sldMkLst>
      </pc:sldChg>
      <pc:sldChg chg="add del">
        <pc:chgData name="Aurelien Domont" userId="6da7715ce44349b3" providerId="LiveId" clId="{0C8DD60E-6B28-4885-88BC-A772E727CD52}" dt="2021-05-04T06:01:18.410" v="1857" actId="47"/>
        <pc:sldMkLst>
          <pc:docMk/>
          <pc:sldMk cId="1874727100" sldId="2015"/>
        </pc:sldMkLst>
      </pc:sldChg>
      <pc:sldChg chg="add del">
        <pc:chgData name="Aurelien Domont" userId="6da7715ce44349b3" providerId="LiveId" clId="{0C8DD60E-6B28-4885-88BC-A772E727CD52}" dt="2021-05-04T06:01:18.410" v="1857" actId="47"/>
        <pc:sldMkLst>
          <pc:docMk/>
          <pc:sldMk cId="2219283537" sldId="2016"/>
        </pc:sldMkLst>
      </pc:sldChg>
      <pc:sldChg chg="add del">
        <pc:chgData name="Aurelien Domont" userId="6da7715ce44349b3" providerId="LiveId" clId="{0C8DD60E-6B28-4885-88BC-A772E727CD52}" dt="2021-05-04T06:01:18.410" v="1857" actId="47"/>
        <pc:sldMkLst>
          <pc:docMk/>
          <pc:sldMk cId="786852373" sldId="2017"/>
        </pc:sldMkLst>
      </pc:sldChg>
      <pc:sldChg chg="add del">
        <pc:chgData name="Aurelien Domont" userId="6da7715ce44349b3" providerId="LiveId" clId="{0C8DD60E-6B28-4885-88BC-A772E727CD52}" dt="2021-05-04T06:01:18.410" v="1857" actId="47"/>
        <pc:sldMkLst>
          <pc:docMk/>
          <pc:sldMk cId="1850178084" sldId="2018"/>
        </pc:sldMkLst>
      </pc:sldChg>
      <pc:sldChg chg="add del">
        <pc:chgData name="Aurelien Domont" userId="6da7715ce44349b3" providerId="LiveId" clId="{0C8DD60E-6B28-4885-88BC-A772E727CD52}" dt="2021-05-04T06:01:18.410" v="1857" actId="47"/>
        <pc:sldMkLst>
          <pc:docMk/>
          <pc:sldMk cId="1391445569" sldId="2019"/>
        </pc:sldMkLst>
      </pc:sldChg>
      <pc:sldChg chg="add del">
        <pc:chgData name="Aurelien Domont" userId="6da7715ce44349b3" providerId="LiveId" clId="{0C8DD60E-6B28-4885-88BC-A772E727CD52}" dt="2021-05-04T06:01:18.410" v="1857" actId="47"/>
        <pc:sldMkLst>
          <pc:docMk/>
          <pc:sldMk cId="833432062" sldId="2020"/>
        </pc:sldMkLst>
      </pc:sldChg>
      <pc:sldChg chg="add del">
        <pc:chgData name="Aurelien Domont" userId="6da7715ce44349b3" providerId="LiveId" clId="{0C8DD60E-6B28-4885-88BC-A772E727CD52}" dt="2021-05-04T06:01:18.410" v="1857" actId="47"/>
        <pc:sldMkLst>
          <pc:docMk/>
          <pc:sldMk cId="1884153820" sldId="2021"/>
        </pc:sldMkLst>
      </pc:sldChg>
      <pc:sldChg chg="add del">
        <pc:chgData name="Aurelien Domont" userId="6da7715ce44349b3" providerId="LiveId" clId="{0C8DD60E-6B28-4885-88BC-A772E727CD52}" dt="2021-05-04T06:01:18.410" v="1857" actId="47"/>
        <pc:sldMkLst>
          <pc:docMk/>
          <pc:sldMk cId="3266627109" sldId="2022"/>
        </pc:sldMkLst>
      </pc:sldChg>
      <pc:sldChg chg="add del">
        <pc:chgData name="Aurelien Domont" userId="6da7715ce44349b3" providerId="LiveId" clId="{0C8DD60E-6B28-4885-88BC-A772E727CD52}" dt="2021-05-04T06:01:18.410" v="1857" actId="47"/>
        <pc:sldMkLst>
          <pc:docMk/>
          <pc:sldMk cId="1720365225" sldId="2023"/>
        </pc:sldMkLst>
      </pc:sldChg>
      <pc:sldChg chg="add del">
        <pc:chgData name="Aurelien Domont" userId="6da7715ce44349b3" providerId="LiveId" clId="{0C8DD60E-6B28-4885-88BC-A772E727CD52}" dt="2021-05-04T06:01:18.410" v="1857" actId="47"/>
        <pc:sldMkLst>
          <pc:docMk/>
          <pc:sldMk cId="2200437321" sldId="2024"/>
        </pc:sldMkLst>
      </pc:sldChg>
      <pc:sldChg chg="add del">
        <pc:chgData name="Aurelien Domont" userId="6da7715ce44349b3" providerId="LiveId" clId="{0C8DD60E-6B28-4885-88BC-A772E727CD52}" dt="2021-05-04T06:01:18.410" v="1857" actId="47"/>
        <pc:sldMkLst>
          <pc:docMk/>
          <pc:sldMk cId="2510494898" sldId="2025"/>
        </pc:sldMkLst>
      </pc:sldChg>
      <pc:sldChg chg="add del">
        <pc:chgData name="Aurelien Domont" userId="6da7715ce44349b3" providerId="LiveId" clId="{0C8DD60E-6B28-4885-88BC-A772E727CD52}" dt="2021-05-04T06:01:18.410" v="1857" actId="47"/>
        <pc:sldMkLst>
          <pc:docMk/>
          <pc:sldMk cId="4191176648" sldId="2026"/>
        </pc:sldMkLst>
      </pc:sldChg>
      <pc:sldChg chg="add del">
        <pc:chgData name="Aurelien Domont" userId="6da7715ce44349b3" providerId="LiveId" clId="{0C8DD60E-6B28-4885-88BC-A772E727CD52}" dt="2021-05-04T06:01:18.410" v="1857" actId="47"/>
        <pc:sldMkLst>
          <pc:docMk/>
          <pc:sldMk cId="4065434126" sldId="2027"/>
        </pc:sldMkLst>
      </pc:sldChg>
      <pc:sldChg chg="add del">
        <pc:chgData name="Aurelien Domont" userId="6da7715ce44349b3" providerId="LiveId" clId="{0C8DD60E-6B28-4885-88BC-A772E727CD52}" dt="2021-05-04T06:01:18.410" v="1857" actId="47"/>
        <pc:sldMkLst>
          <pc:docMk/>
          <pc:sldMk cId="724289588" sldId="2028"/>
        </pc:sldMkLst>
      </pc:sldChg>
      <pc:sldChg chg="add del">
        <pc:chgData name="Aurelien Domont" userId="6da7715ce44349b3" providerId="LiveId" clId="{0C8DD60E-6B28-4885-88BC-A772E727CD52}" dt="2021-05-04T06:01:18.410" v="1857" actId="47"/>
        <pc:sldMkLst>
          <pc:docMk/>
          <pc:sldMk cId="1151893028" sldId="2029"/>
        </pc:sldMkLst>
      </pc:sldChg>
      <pc:sldChg chg="add del ord">
        <pc:chgData name="Aurelien Domont" userId="6da7715ce44349b3" providerId="LiveId" clId="{0C8DD60E-6B28-4885-88BC-A772E727CD52}" dt="2021-05-04T06:01:18.410" v="1857" actId="47"/>
        <pc:sldMkLst>
          <pc:docMk/>
          <pc:sldMk cId="3094586799" sldId="2032"/>
        </pc:sldMkLst>
      </pc:sldChg>
      <pc:sldChg chg="del">
        <pc:chgData name="Aurelien Domont" userId="6da7715ce44349b3" providerId="LiveId" clId="{0C8DD60E-6B28-4885-88BC-A772E727CD52}" dt="2021-05-04T04:57:32.167" v="699" actId="47"/>
        <pc:sldMkLst>
          <pc:docMk/>
          <pc:sldMk cId="2443640543" sldId="2033"/>
        </pc:sldMkLst>
      </pc:sldChg>
      <pc:sldChg chg="addSp delSp modSp add mod">
        <pc:chgData name="Aurelien Domont" userId="6da7715ce44349b3" providerId="LiveId" clId="{0C8DD60E-6B28-4885-88BC-A772E727CD52}" dt="2021-05-04T05:11:54.771" v="942"/>
        <pc:sldMkLst>
          <pc:docMk/>
          <pc:sldMk cId="460632394" sldId="2035"/>
        </pc:sldMkLst>
        <pc:spChg chg="mod">
          <ac:chgData name="Aurelien Domont" userId="6da7715ce44349b3" providerId="LiveId" clId="{0C8DD60E-6B28-4885-88BC-A772E727CD52}" dt="2021-05-04T05:11:40.352" v="940" actId="20577"/>
          <ac:spMkLst>
            <pc:docMk/>
            <pc:sldMk cId="460632394" sldId="2035"/>
            <ac:spMk id="16" creationId="{6C2BB713-9637-4B9B-938F-E9768876782A}"/>
          </ac:spMkLst>
        </pc:spChg>
        <pc:spChg chg="add mod">
          <ac:chgData name="Aurelien Domont" userId="6da7715ce44349b3" providerId="LiveId" clId="{0C8DD60E-6B28-4885-88BC-A772E727CD52}" dt="2021-05-04T05:11:54.771" v="942"/>
          <ac:spMkLst>
            <pc:docMk/>
            <pc:sldMk cId="460632394" sldId="2035"/>
            <ac:spMk id="22" creationId="{FE8D4114-D8C6-43E8-AF6A-AD38315BC112}"/>
          </ac:spMkLst>
        </pc:spChg>
        <pc:spChg chg="add mod">
          <ac:chgData name="Aurelien Domont" userId="6da7715ce44349b3" providerId="LiveId" clId="{0C8DD60E-6B28-4885-88BC-A772E727CD52}" dt="2021-05-04T05:11:54.771" v="942"/>
          <ac:spMkLst>
            <pc:docMk/>
            <pc:sldMk cId="460632394" sldId="2035"/>
            <ac:spMk id="25" creationId="{F8361CDB-6382-48BE-97F5-1BED7884909F}"/>
          </ac:spMkLst>
        </pc:spChg>
        <pc:spChg chg="add mod">
          <ac:chgData name="Aurelien Domont" userId="6da7715ce44349b3" providerId="LiveId" clId="{0C8DD60E-6B28-4885-88BC-A772E727CD52}" dt="2021-05-04T05:11:54.771" v="942"/>
          <ac:spMkLst>
            <pc:docMk/>
            <pc:sldMk cId="460632394" sldId="2035"/>
            <ac:spMk id="26" creationId="{5AD58A05-2BD2-40F1-9A02-700183C3096E}"/>
          </ac:spMkLst>
        </pc:spChg>
        <pc:spChg chg="del">
          <ac:chgData name="Aurelien Domont" userId="6da7715ce44349b3" providerId="LiveId" clId="{0C8DD60E-6B28-4885-88BC-A772E727CD52}" dt="2021-05-04T05:11:54.329" v="941" actId="478"/>
          <ac:spMkLst>
            <pc:docMk/>
            <pc:sldMk cId="460632394" sldId="2035"/>
            <ac:spMk id="27" creationId="{4A7737FD-885B-4743-83D6-E15492EC5079}"/>
          </ac:spMkLst>
        </pc:spChg>
        <pc:spChg chg="del">
          <ac:chgData name="Aurelien Domont" userId="6da7715ce44349b3" providerId="LiveId" clId="{0C8DD60E-6B28-4885-88BC-A772E727CD52}" dt="2021-05-04T05:11:54.329" v="941" actId="478"/>
          <ac:spMkLst>
            <pc:docMk/>
            <pc:sldMk cId="460632394" sldId="2035"/>
            <ac:spMk id="30" creationId="{AC74D2FC-D5BA-4359-98B7-EEB24A6F7DB4}"/>
          </ac:spMkLst>
        </pc:spChg>
        <pc:spChg chg="del">
          <ac:chgData name="Aurelien Domont" userId="6da7715ce44349b3" providerId="LiveId" clId="{0C8DD60E-6B28-4885-88BC-A772E727CD52}" dt="2021-05-04T05:11:54.329" v="941" actId="478"/>
          <ac:spMkLst>
            <pc:docMk/>
            <pc:sldMk cId="460632394" sldId="2035"/>
            <ac:spMk id="31" creationId="{203E7F0B-2463-4EA0-8F46-BC18B5053A57}"/>
          </ac:spMkLst>
        </pc:spChg>
        <pc:spChg chg="del">
          <ac:chgData name="Aurelien Domont" userId="6da7715ce44349b3" providerId="LiveId" clId="{0C8DD60E-6B28-4885-88BC-A772E727CD52}" dt="2021-05-04T05:11:54.329" v="941" actId="478"/>
          <ac:spMkLst>
            <pc:docMk/>
            <pc:sldMk cId="460632394" sldId="2035"/>
            <ac:spMk id="32" creationId="{5E0DC39B-D046-4E37-8EAE-A8E4FD8A7E69}"/>
          </ac:spMkLst>
        </pc:spChg>
        <pc:spChg chg="del">
          <ac:chgData name="Aurelien Domont" userId="6da7715ce44349b3" providerId="LiveId" clId="{0C8DD60E-6B28-4885-88BC-A772E727CD52}" dt="2021-05-04T05:11:54.329" v="941" actId="478"/>
          <ac:spMkLst>
            <pc:docMk/>
            <pc:sldMk cId="460632394" sldId="2035"/>
            <ac:spMk id="33" creationId="{68151519-10C4-44C6-81CC-6172A98242D4}"/>
          </ac:spMkLst>
        </pc:spChg>
        <pc:spChg chg="del">
          <ac:chgData name="Aurelien Domont" userId="6da7715ce44349b3" providerId="LiveId" clId="{0C8DD60E-6B28-4885-88BC-A772E727CD52}" dt="2021-05-04T05:11:54.329" v="941" actId="478"/>
          <ac:spMkLst>
            <pc:docMk/>
            <pc:sldMk cId="460632394" sldId="2035"/>
            <ac:spMk id="34" creationId="{7C76714E-5B2D-44B7-8108-D78AE3D1B61A}"/>
          </ac:spMkLst>
        </pc:spChg>
        <pc:spChg chg="del">
          <ac:chgData name="Aurelien Domont" userId="6da7715ce44349b3" providerId="LiveId" clId="{0C8DD60E-6B28-4885-88BC-A772E727CD52}" dt="2021-05-04T05:11:54.329" v="941" actId="478"/>
          <ac:spMkLst>
            <pc:docMk/>
            <pc:sldMk cId="460632394" sldId="2035"/>
            <ac:spMk id="35" creationId="{B32C32BC-86BB-4430-ADFC-9D581C56A21C}"/>
          </ac:spMkLst>
        </pc:spChg>
        <pc:spChg chg="del">
          <ac:chgData name="Aurelien Domont" userId="6da7715ce44349b3" providerId="LiveId" clId="{0C8DD60E-6B28-4885-88BC-A772E727CD52}" dt="2021-05-04T05:11:54.329" v="941" actId="478"/>
          <ac:spMkLst>
            <pc:docMk/>
            <pc:sldMk cId="460632394" sldId="2035"/>
            <ac:spMk id="36" creationId="{5C5EF34C-FB50-4EC9-A5A6-6EF31818B060}"/>
          </ac:spMkLst>
        </pc:spChg>
        <pc:spChg chg="del">
          <ac:chgData name="Aurelien Domont" userId="6da7715ce44349b3" providerId="LiveId" clId="{0C8DD60E-6B28-4885-88BC-A772E727CD52}" dt="2021-05-04T05:11:54.329" v="941" actId="478"/>
          <ac:spMkLst>
            <pc:docMk/>
            <pc:sldMk cId="460632394" sldId="2035"/>
            <ac:spMk id="37" creationId="{50652D05-DD41-421F-86D5-3223E77C137D}"/>
          </ac:spMkLst>
        </pc:spChg>
        <pc:spChg chg="add mod">
          <ac:chgData name="Aurelien Domont" userId="6da7715ce44349b3" providerId="LiveId" clId="{0C8DD60E-6B28-4885-88BC-A772E727CD52}" dt="2021-05-04T05:11:54.771" v="942"/>
          <ac:spMkLst>
            <pc:docMk/>
            <pc:sldMk cId="460632394" sldId="2035"/>
            <ac:spMk id="44" creationId="{509BD734-2FDF-4AC2-8C44-0524D1F67D29}"/>
          </ac:spMkLst>
        </pc:spChg>
        <pc:spChg chg="add mod">
          <ac:chgData name="Aurelien Domont" userId="6da7715ce44349b3" providerId="LiveId" clId="{0C8DD60E-6B28-4885-88BC-A772E727CD52}" dt="2021-05-04T05:11:54.771" v="942"/>
          <ac:spMkLst>
            <pc:docMk/>
            <pc:sldMk cId="460632394" sldId="2035"/>
            <ac:spMk id="45" creationId="{0F410E93-FDFE-4579-86D8-81038E0A0727}"/>
          </ac:spMkLst>
        </pc:spChg>
        <pc:spChg chg="add mod">
          <ac:chgData name="Aurelien Domont" userId="6da7715ce44349b3" providerId="LiveId" clId="{0C8DD60E-6B28-4885-88BC-A772E727CD52}" dt="2021-05-04T05:11:54.771" v="942"/>
          <ac:spMkLst>
            <pc:docMk/>
            <pc:sldMk cId="460632394" sldId="2035"/>
            <ac:spMk id="46" creationId="{A0596E4D-520B-41FE-8819-EE68D9138726}"/>
          </ac:spMkLst>
        </pc:spChg>
        <pc:spChg chg="add mod">
          <ac:chgData name="Aurelien Domont" userId="6da7715ce44349b3" providerId="LiveId" clId="{0C8DD60E-6B28-4885-88BC-A772E727CD52}" dt="2021-05-04T05:11:54.771" v="942"/>
          <ac:spMkLst>
            <pc:docMk/>
            <pc:sldMk cId="460632394" sldId="2035"/>
            <ac:spMk id="47" creationId="{96EE69CF-8D9F-451A-BCD7-88D638FA823F}"/>
          </ac:spMkLst>
        </pc:spChg>
        <pc:spChg chg="add mod">
          <ac:chgData name="Aurelien Domont" userId="6da7715ce44349b3" providerId="LiveId" clId="{0C8DD60E-6B28-4885-88BC-A772E727CD52}" dt="2021-05-04T05:11:54.771" v="942"/>
          <ac:spMkLst>
            <pc:docMk/>
            <pc:sldMk cId="460632394" sldId="2035"/>
            <ac:spMk id="48" creationId="{DD8FBD90-1C94-4B6D-B9CA-0C94D9C63AA8}"/>
          </ac:spMkLst>
        </pc:spChg>
        <pc:spChg chg="add mod">
          <ac:chgData name="Aurelien Domont" userId="6da7715ce44349b3" providerId="LiveId" clId="{0C8DD60E-6B28-4885-88BC-A772E727CD52}" dt="2021-05-04T05:11:54.771" v="942"/>
          <ac:spMkLst>
            <pc:docMk/>
            <pc:sldMk cId="460632394" sldId="2035"/>
            <ac:spMk id="49" creationId="{4B142AF1-E03A-41CF-9FD4-FDB880C39248}"/>
          </ac:spMkLst>
        </pc:spChg>
        <pc:spChg chg="add mod">
          <ac:chgData name="Aurelien Domont" userId="6da7715ce44349b3" providerId="LiveId" clId="{0C8DD60E-6B28-4885-88BC-A772E727CD52}" dt="2021-05-04T05:11:54.771" v="942"/>
          <ac:spMkLst>
            <pc:docMk/>
            <pc:sldMk cId="460632394" sldId="2035"/>
            <ac:spMk id="50" creationId="{A8B5571A-AA67-419C-BBEF-6BECE42F09FB}"/>
          </ac:spMkLst>
        </pc:spChg>
        <pc:spChg chg="add mod">
          <ac:chgData name="Aurelien Domont" userId="6da7715ce44349b3" providerId="LiveId" clId="{0C8DD60E-6B28-4885-88BC-A772E727CD52}" dt="2021-05-04T05:11:54.771" v="942"/>
          <ac:spMkLst>
            <pc:docMk/>
            <pc:sldMk cId="460632394" sldId="2035"/>
            <ac:spMk id="51" creationId="{05E1392B-DEAB-4794-910C-21CCAE1C47B5}"/>
          </ac:spMkLst>
        </pc:spChg>
        <pc:spChg chg="add mod">
          <ac:chgData name="Aurelien Domont" userId="6da7715ce44349b3" providerId="LiveId" clId="{0C8DD60E-6B28-4885-88BC-A772E727CD52}" dt="2021-05-04T05:11:54.771" v="942"/>
          <ac:spMkLst>
            <pc:docMk/>
            <pc:sldMk cId="460632394" sldId="2035"/>
            <ac:spMk id="52" creationId="{C523AEE8-C3D2-4FFF-9D81-9C3AB8AF0812}"/>
          </ac:spMkLst>
        </pc:spChg>
        <pc:spChg chg="add mod">
          <ac:chgData name="Aurelien Domont" userId="6da7715ce44349b3" providerId="LiveId" clId="{0C8DD60E-6B28-4885-88BC-A772E727CD52}" dt="2021-05-04T05:11:54.771" v="942"/>
          <ac:spMkLst>
            <pc:docMk/>
            <pc:sldMk cId="460632394" sldId="2035"/>
            <ac:spMk id="53" creationId="{4A4468AF-B0D9-49AF-AC29-099DEF98044D}"/>
          </ac:spMkLst>
        </pc:spChg>
        <pc:cxnChg chg="add mod">
          <ac:chgData name="Aurelien Domont" userId="6da7715ce44349b3" providerId="LiveId" clId="{0C8DD60E-6B28-4885-88BC-A772E727CD52}" dt="2021-05-04T05:11:54.771" v="942"/>
          <ac:cxnSpMkLst>
            <pc:docMk/>
            <pc:sldMk cId="460632394" sldId="2035"/>
            <ac:cxnSpMk id="23" creationId="{75A27BEB-902F-4895-A930-B10447A20EBD}"/>
          </ac:cxnSpMkLst>
        </pc:cxnChg>
        <pc:cxnChg chg="add mod">
          <ac:chgData name="Aurelien Domont" userId="6da7715ce44349b3" providerId="LiveId" clId="{0C8DD60E-6B28-4885-88BC-A772E727CD52}" dt="2021-05-04T05:11:54.771" v="942"/>
          <ac:cxnSpMkLst>
            <pc:docMk/>
            <pc:sldMk cId="460632394" sldId="2035"/>
            <ac:cxnSpMk id="24" creationId="{E3AE8FF4-4D2D-41B5-803A-6C1BE08921A2}"/>
          </ac:cxnSpMkLst>
        </pc:cxnChg>
        <pc:cxnChg chg="del mod">
          <ac:chgData name="Aurelien Domont" userId="6da7715ce44349b3" providerId="LiveId" clId="{0C8DD60E-6B28-4885-88BC-A772E727CD52}" dt="2021-05-04T05:11:54.329" v="941" actId="478"/>
          <ac:cxnSpMkLst>
            <pc:docMk/>
            <pc:sldMk cId="460632394" sldId="2035"/>
            <ac:cxnSpMk id="28" creationId="{13465034-8505-4215-9A75-2727FBA6BDAC}"/>
          </ac:cxnSpMkLst>
        </pc:cxnChg>
        <pc:cxnChg chg="del mod">
          <ac:chgData name="Aurelien Domont" userId="6da7715ce44349b3" providerId="LiveId" clId="{0C8DD60E-6B28-4885-88BC-A772E727CD52}" dt="2021-05-04T05:11:54.329" v="941" actId="478"/>
          <ac:cxnSpMkLst>
            <pc:docMk/>
            <pc:sldMk cId="460632394" sldId="2035"/>
            <ac:cxnSpMk id="29" creationId="{63628088-6E5B-4D37-81D0-E9165B9AE6C0}"/>
          </ac:cxnSpMkLst>
        </pc:cxnChg>
        <pc:cxnChg chg="del mod">
          <ac:chgData name="Aurelien Domont" userId="6da7715ce44349b3" providerId="LiveId" clId="{0C8DD60E-6B28-4885-88BC-A772E727CD52}" dt="2021-05-04T05:11:54.329" v="941" actId="478"/>
          <ac:cxnSpMkLst>
            <pc:docMk/>
            <pc:sldMk cId="460632394" sldId="2035"/>
            <ac:cxnSpMk id="38" creationId="{0C6D65D2-7B30-4B1F-9433-6C5220B2B77C}"/>
          </ac:cxnSpMkLst>
        </pc:cxnChg>
        <pc:cxnChg chg="del mod">
          <ac:chgData name="Aurelien Domont" userId="6da7715ce44349b3" providerId="LiveId" clId="{0C8DD60E-6B28-4885-88BC-A772E727CD52}" dt="2021-05-04T05:11:54.329" v="941" actId="478"/>
          <ac:cxnSpMkLst>
            <pc:docMk/>
            <pc:sldMk cId="460632394" sldId="2035"/>
            <ac:cxnSpMk id="39" creationId="{40A9351A-E4A8-4D34-9F0A-3F0F70A5A2EA}"/>
          </ac:cxnSpMkLst>
        </pc:cxnChg>
        <pc:cxnChg chg="del mod">
          <ac:chgData name="Aurelien Domont" userId="6da7715ce44349b3" providerId="LiveId" clId="{0C8DD60E-6B28-4885-88BC-A772E727CD52}" dt="2021-05-04T05:11:54.329" v="941" actId="478"/>
          <ac:cxnSpMkLst>
            <pc:docMk/>
            <pc:sldMk cId="460632394" sldId="2035"/>
            <ac:cxnSpMk id="40" creationId="{2CD4ECE5-498A-40FF-8854-A64DF1D2C6F8}"/>
          </ac:cxnSpMkLst>
        </pc:cxnChg>
        <pc:cxnChg chg="del mod">
          <ac:chgData name="Aurelien Domont" userId="6da7715ce44349b3" providerId="LiveId" clId="{0C8DD60E-6B28-4885-88BC-A772E727CD52}" dt="2021-05-04T05:11:54.329" v="941" actId="478"/>
          <ac:cxnSpMkLst>
            <pc:docMk/>
            <pc:sldMk cId="460632394" sldId="2035"/>
            <ac:cxnSpMk id="41" creationId="{4239A4F0-A1BE-4238-81C5-882B29BA2521}"/>
          </ac:cxnSpMkLst>
        </pc:cxnChg>
        <pc:cxnChg chg="del mod">
          <ac:chgData name="Aurelien Domont" userId="6da7715ce44349b3" providerId="LiveId" clId="{0C8DD60E-6B28-4885-88BC-A772E727CD52}" dt="2021-05-04T05:11:54.329" v="941" actId="478"/>
          <ac:cxnSpMkLst>
            <pc:docMk/>
            <pc:sldMk cId="460632394" sldId="2035"/>
            <ac:cxnSpMk id="42" creationId="{1AE90D8D-8989-4B10-BC71-8AE87C1E275D}"/>
          </ac:cxnSpMkLst>
        </pc:cxnChg>
        <pc:cxnChg chg="del mod">
          <ac:chgData name="Aurelien Domont" userId="6da7715ce44349b3" providerId="LiveId" clId="{0C8DD60E-6B28-4885-88BC-A772E727CD52}" dt="2021-05-04T05:11:54.329" v="941" actId="478"/>
          <ac:cxnSpMkLst>
            <pc:docMk/>
            <pc:sldMk cId="460632394" sldId="2035"/>
            <ac:cxnSpMk id="43" creationId="{079C38F9-1E61-4211-9F84-22D8C32E7D56}"/>
          </ac:cxnSpMkLst>
        </pc:cxnChg>
        <pc:cxnChg chg="add mod">
          <ac:chgData name="Aurelien Domont" userId="6da7715ce44349b3" providerId="LiveId" clId="{0C8DD60E-6B28-4885-88BC-A772E727CD52}" dt="2021-05-04T05:11:54.771" v="942"/>
          <ac:cxnSpMkLst>
            <pc:docMk/>
            <pc:sldMk cId="460632394" sldId="2035"/>
            <ac:cxnSpMk id="54" creationId="{36252A6F-26FB-4DB4-A717-9177531598C5}"/>
          </ac:cxnSpMkLst>
        </pc:cxnChg>
        <pc:cxnChg chg="add mod">
          <ac:chgData name="Aurelien Domont" userId="6da7715ce44349b3" providerId="LiveId" clId="{0C8DD60E-6B28-4885-88BC-A772E727CD52}" dt="2021-05-04T05:11:54.771" v="942"/>
          <ac:cxnSpMkLst>
            <pc:docMk/>
            <pc:sldMk cId="460632394" sldId="2035"/>
            <ac:cxnSpMk id="55" creationId="{0A394470-7274-44BF-AF91-83EF20BFF72A}"/>
          </ac:cxnSpMkLst>
        </pc:cxnChg>
        <pc:cxnChg chg="add mod">
          <ac:chgData name="Aurelien Domont" userId="6da7715ce44349b3" providerId="LiveId" clId="{0C8DD60E-6B28-4885-88BC-A772E727CD52}" dt="2021-05-04T05:11:54.771" v="942"/>
          <ac:cxnSpMkLst>
            <pc:docMk/>
            <pc:sldMk cId="460632394" sldId="2035"/>
            <ac:cxnSpMk id="56" creationId="{42484783-24CD-4DF5-B772-8FAC31D9CF81}"/>
          </ac:cxnSpMkLst>
        </pc:cxnChg>
        <pc:cxnChg chg="add mod">
          <ac:chgData name="Aurelien Domont" userId="6da7715ce44349b3" providerId="LiveId" clId="{0C8DD60E-6B28-4885-88BC-A772E727CD52}" dt="2021-05-04T05:11:54.771" v="942"/>
          <ac:cxnSpMkLst>
            <pc:docMk/>
            <pc:sldMk cId="460632394" sldId="2035"/>
            <ac:cxnSpMk id="57" creationId="{F5029551-792B-4A5E-84F6-A3144868DD7B}"/>
          </ac:cxnSpMkLst>
        </pc:cxnChg>
        <pc:cxnChg chg="add mod">
          <ac:chgData name="Aurelien Domont" userId="6da7715ce44349b3" providerId="LiveId" clId="{0C8DD60E-6B28-4885-88BC-A772E727CD52}" dt="2021-05-04T05:11:54.771" v="942"/>
          <ac:cxnSpMkLst>
            <pc:docMk/>
            <pc:sldMk cId="460632394" sldId="2035"/>
            <ac:cxnSpMk id="58" creationId="{5FE8AE2B-6517-49E2-BA9C-8AFE4694AA73}"/>
          </ac:cxnSpMkLst>
        </pc:cxnChg>
        <pc:cxnChg chg="add mod">
          <ac:chgData name="Aurelien Domont" userId="6da7715ce44349b3" providerId="LiveId" clId="{0C8DD60E-6B28-4885-88BC-A772E727CD52}" dt="2021-05-04T05:11:54.771" v="942"/>
          <ac:cxnSpMkLst>
            <pc:docMk/>
            <pc:sldMk cId="460632394" sldId="2035"/>
            <ac:cxnSpMk id="59" creationId="{E4E2D757-BD22-4305-A06E-84DAB884BE19}"/>
          </ac:cxnSpMkLst>
        </pc:cxnChg>
        <pc:cxnChg chg="add mod">
          <ac:chgData name="Aurelien Domont" userId="6da7715ce44349b3" providerId="LiveId" clId="{0C8DD60E-6B28-4885-88BC-A772E727CD52}" dt="2021-05-04T05:11:54.771" v="942"/>
          <ac:cxnSpMkLst>
            <pc:docMk/>
            <pc:sldMk cId="460632394" sldId="2035"/>
            <ac:cxnSpMk id="60" creationId="{D14F0960-02FE-4D1A-B25B-1BA76B851B9D}"/>
          </ac:cxnSpMkLst>
        </pc:cxnChg>
        <pc:cxnChg chg="add mod">
          <ac:chgData name="Aurelien Domont" userId="6da7715ce44349b3" providerId="LiveId" clId="{0C8DD60E-6B28-4885-88BC-A772E727CD52}" dt="2021-05-04T05:11:54.771" v="942"/>
          <ac:cxnSpMkLst>
            <pc:docMk/>
            <pc:sldMk cId="460632394" sldId="2035"/>
            <ac:cxnSpMk id="61" creationId="{C812A24C-C9F9-435F-87A0-449F2C025F5E}"/>
          </ac:cxnSpMkLst>
        </pc:cxnChg>
        <pc:cxnChg chg="add mod">
          <ac:chgData name="Aurelien Domont" userId="6da7715ce44349b3" providerId="LiveId" clId="{0C8DD60E-6B28-4885-88BC-A772E727CD52}" dt="2021-05-04T05:11:54.771" v="942"/>
          <ac:cxnSpMkLst>
            <pc:docMk/>
            <pc:sldMk cId="460632394" sldId="2035"/>
            <ac:cxnSpMk id="62" creationId="{9B4C04AC-79D1-41DE-809C-FCB95470EBED}"/>
          </ac:cxnSpMkLst>
        </pc:cxnChg>
        <pc:cxnChg chg="add mod">
          <ac:chgData name="Aurelien Domont" userId="6da7715ce44349b3" providerId="LiveId" clId="{0C8DD60E-6B28-4885-88BC-A772E727CD52}" dt="2021-05-04T05:11:54.771" v="942"/>
          <ac:cxnSpMkLst>
            <pc:docMk/>
            <pc:sldMk cId="460632394" sldId="2035"/>
            <ac:cxnSpMk id="63" creationId="{CE1593BA-22B6-4B20-93CA-D5DA6EAE3C6D}"/>
          </ac:cxnSpMkLst>
        </pc:cxnChg>
      </pc:sldChg>
      <pc:sldChg chg="del">
        <pc:chgData name="Aurelien Domont" userId="6da7715ce44349b3" providerId="LiveId" clId="{0C8DD60E-6B28-4885-88BC-A772E727CD52}" dt="2021-05-04T04:57:29.483" v="698" actId="47"/>
        <pc:sldMkLst>
          <pc:docMk/>
          <pc:sldMk cId="4044506472" sldId="2035"/>
        </pc:sldMkLst>
      </pc:sldChg>
      <pc:sldChg chg="add del">
        <pc:chgData name="Aurelien Domont" userId="6da7715ce44349b3" providerId="LiveId" clId="{0C8DD60E-6B28-4885-88BC-A772E727CD52}" dt="2021-05-04T04:57:26.689" v="697" actId="47"/>
        <pc:sldMkLst>
          <pc:docMk/>
          <pc:sldMk cId="2703776564" sldId="2036"/>
        </pc:sldMkLst>
      </pc:sldChg>
      <pc:sldChg chg="modSp add del mod">
        <pc:chgData name="Aurelien Domont" userId="6da7715ce44349b3" providerId="LiveId" clId="{0C8DD60E-6B28-4885-88BC-A772E727CD52}" dt="2021-05-04T05:34:22.124" v="1329" actId="47"/>
        <pc:sldMkLst>
          <pc:docMk/>
          <pc:sldMk cId="2997149327" sldId="2036"/>
        </pc:sldMkLst>
        <pc:spChg chg="mod">
          <ac:chgData name="Aurelien Domont" userId="6da7715ce44349b3" providerId="LiveId" clId="{0C8DD60E-6B28-4885-88BC-A772E727CD52}" dt="2021-05-04T05:31:03.012" v="1280"/>
          <ac:spMkLst>
            <pc:docMk/>
            <pc:sldMk cId="2997149327" sldId="2036"/>
            <ac:spMk id="16" creationId="{6C2BB713-9637-4B9B-938F-E9768876782A}"/>
          </ac:spMkLst>
        </pc:spChg>
      </pc:sldChg>
      <pc:sldChg chg="delSp modSp add mod">
        <pc:chgData name="Aurelien Domont" userId="6da7715ce44349b3" providerId="LiveId" clId="{0C8DD60E-6B28-4885-88BC-A772E727CD52}" dt="2021-05-04T05:36:13.038" v="1456" actId="20577"/>
        <pc:sldMkLst>
          <pc:docMk/>
          <pc:sldMk cId="186912506" sldId="2037"/>
        </pc:sldMkLst>
        <pc:spChg chg="mod">
          <ac:chgData name="Aurelien Domont" userId="6da7715ce44349b3" providerId="LiveId" clId="{0C8DD60E-6B28-4885-88BC-A772E727CD52}" dt="2021-05-04T05:35:51.921" v="1453" actId="242"/>
          <ac:spMkLst>
            <pc:docMk/>
            <pc:sldMk cId="186912506" sldId="2037"/>
            <ac:spMk id="23" creationId="{38EFA3C4-46A2-4C8E-8465-B40A972D3224}"/>
          </ac:spMkLst>
        </pc:spChg>
        <pc:spChg chg="mod">
          <ac:chgData name="Aurelien Domont" userId="6da7715ce44349b3" providerId="LiveId" clId="{0C8DD60E-6B28-4885-88BC-A772E727CD52}" dt="2021-05-04T05:36:13.038" v="1456" actId="20577"/>
          <ac:spMkLst>
            <pc:docMk/>
            <pc:sldMk cId="186912506" sldId="2037"/>
            <ac:spMk id="24" creationId="{04602E5C-F30E-4851-B9F4-4929CD8C9DE4}"/>
          </ac:spMkLst>
        </pc:spChg>
        <pc:grpChg chg="del">
          <ac:chgData name="Aurelien Domont" userId="6da7715ce44349b3" providerId="LiveId" clId="{0C8DD60E-6B28-4885-88BC-A772E727CD52}" dt="2021-05-04T05:33:46.571" v="1320" actId="478"/>
          <ac:grpSpMkLst>
            <pc:docMk/>
            <pc:sldMk cId="186912506" sldId="2037"/>
            <ac:grpSpMk id="4" creationId="{9ECED568-17C9-4DD4-9D97-836414E0B382}"/>
          </ac:grpSpMkLst>
        </pc:grpChg>
        <pc:picChg chg="del">
          <ac:chgData name="Aurelien Domont" userId="6da7715ce44349b3" providerId="LiveId" clId="{0C8DD60E-6B28-4885-88BC-A772E727CD52}" dt="2021-05-04T05:34:08.312" v="1327" actId="478"/>
          <ac:picMkLst>
            <pc:docMk/>
            <pc:sldMk cId="186912506" sldId="2037"/>
            <ac:picMk id="5" creationId="{6A8C82E0-D461-4F54-90EE-B985A10CF5A1}"/>
          </ac:picMkLst>
        </pc:picChg>
      </pc:sldChg>
      <pc:sldChg chg="add">
        <pc:chgData name="Aurelien Domont" userId="6da7715ce44349b3" providerId="LiveId" clId="{0C8DD60E-6B28-4885-88BC-A772E727CD52}" dt="2021-05-04T06:04:42.756" v="1871"/>
        <pc:sldMkLst>
          <pc:docMk/>
          <pc:sldMk cId="3274212698" sldId="2038"/>
        </pc:sldMkLst>
      </pc:sldChg>
      <pc:sldChg chg="add">
        <pc:chgData name="Aurelien Domont" userId="6da7715ce44349b3" providerId="LiveId" clId="{0C8DD60E-6B28-4885-88BC-A772E727CD52}" dt="2021-05-04T06:04:42.756" v="1871"/>
        <pc:sldMkLst>
          <pc:docMk/>
          <pc:sldMk cId="4057054822" sldId="2147"/>
        </pc:sldMkLst>
      </pc:sldChg>
      <pc:sldChg chg="add">
        <pc:chgData name="Aurelien Domont" userId="6da7715ce44349b3" providerId="LiveId" clId="{0C8DD60E-6B28-4885-88BC-A772E727CD52}" dt="2021-05-04T06:04:42.756" v="1871"/>
        <pc:sldMkLst>
          <pc:docMk/>
          <pc:sldMk cId="4208437711" sldId="2148"/>
        </pc:sldMkLst>
      </pc:sldChg>
      <pc:sldChg chg="add">
        <pc:chgData name="Aurelien Domont" userId="6da7715ce44349b3" providerId="LiveId" clId="{0C8DD60E-6B28-4885-88BC-A772E727CD52}" dt="2021-05-04T06:04:42.756" v="1871"/>
        <pc:sldMkLst>
          <pc:docMk/>
          <pc:sldMk cId="1289725493" sldId="2149"/>
        </pc:sldMkLst>
      </pc:sldChg>
      <pc:sldChg chg="delSp modSp add mod">
        <pc:chgData name="Aurelien Domont" userId="6da7715ce44349b3" providerId="LiveId" clId="{0C8DD60E-6B28-4885-88BC-A772E727CD52}" dt="2021-05-04T06:07:58.626" v="1888" actId="20577"/>
        <pc:sldMkLst>
          <pc:docMk/>
          <pc:sldMk cId="2014281171" sldId="2150"/>
        </pc:sldMkLst>
        <pc:spChg chg="del">
          <ac:chgData name="Aurelien Domont" userId="6da7715ce44349b3" providerId="LiveId" clId="{0C8DD60E-6B28-4885-88BC-A772E727CD52}" dt="2021-05-04T06:06:07.426" v="1885" actId="478"/>
          <ac:spMkLst>
            <pc:docMk/>
            <pc:sldMk cId="2014281171" sldId="2150"/>
            <ac:spMk id="5" creationId="{91206A1C-4398-49D5-B631-7CF32C406825}"/>
          </ac:spMkLst>
        </pc:spChg>
        <pc:spChg chg="mod">
          <ac:chgData name="Aurelien Domont" userId="6da7715ce44349b3" providerId="LiveId" clId="{0C8DD60E-6B28-4885-88BC-A772E727CD52}" dt="2021-05-04T06:05:55.743" v="1884" actId="108"/>
          <ac:spMkLst>
            <pc:docMk/>
            <pc:sldMk cId="2014281171" sldId="2150"/>
            <ac:spMk id="14" creationId="{493F826D-CCF6-440C-BFA4-C3799A3ED755}"/>
          </ac:spMkLst>
        </pc:spChg>
        <pc:spChg chg="mod">
          <ac:chgData name="Aurelien Domont" userId="6da7715ce44349b3" providerId="LiveId" clId="{0C8DD60E-6B28-4885-88BC-A772E727CD52}" dt="2021-05-04T06:07:58.626" v="1888" actId="20577"/>
          <ac:spMkLst>
            <pc:docMk/>
            <pc:sldMk cId="2014281171" sldId="2150"/>
            <ac:spMk id="16" creationId="{6C2BB713-9637-4B9B-938F-E9768876782A}"/>
          </ac:spMkLst>
        </pc:spChg>
        <pc:spChg chg="mod">
          <ac:chgData name="Aurelien Domont" userId="6da7715ce44349b3" providerId="LiveId" clId="{0C8DD60E-6B28-4885-88BC-A772E727CD52}" dt="2021-05-04T06:05:52.929" v="1883" actId="108"/>
          <ac:spMkLst>
            <pc:docMk/>
            <pc:sldMk cId="2014281171" sldId="2150"/>
            <ac:spMk id="18" creationId="{0BCD4164-FFCE-447D-8269-E5891A7FEF0D}"/>
          </ac:spMkLst>
        </pc:spChg>
      </pc:sldChg>
    </pc:docChg>
  </pc:docChgLst>
  <pc:docChgLst>
    <pc:chgData name="Aurelien Domont" userId="6da7715ce44349b3" providerId="LiveId" clId="{9ACB5E05-F805-4811-BEC1-07DB1B7A3575}"/>
    <pc:docChg chg="custSel modSld">
      <pc:chgData name="Aurelien Domont" userId="6da7715ce44349b3" providerId="LiveId" clId="{9ACB5E05-F805-4811-BEC1-07DB1B7A3575}" dt="2021-05-04T03:32:32.987" v="37" actId="27636"/>
      <pc:docMkLst>
        <pc:docMk/>
      </pc:docMkLst>
      <pc:sldChg chg="modSp mod">
        <pc:chgData name="Aurelien Domont" userId="6da7715ce44349b3" providerId="LiveId" clId="{9ACB5E05-F805-4811-BEC1-07DB1B7A3575}" dt="2021-05-04T03:32:32.987" v="37" actId="27636"/>
        <pc:sldMkLst>
          <pc:docMk/>
          <pc:sldMk cId="3131901387" sldId="256"/>
        </pc:sldMkLst>
        <pc:spChg chg="mod">
          <ac:chgData name="Aurelien Domont" userId="6da7715ce44349b3" providerId="LiveId" clId="{9ACB5E05-F805-4811-BEC1-07DB1B7A3575}" dt="2021-05-04T03:32:32.987" v="37" actId="27636"/>
          <ac:spMkLst>
            <pc:docMk/>
            <pc:sldMk cId="3131901387" sldId="256"/>
            <ac:spMk id="2" creationId="{5261080C-C60C-4746-B6B1-A9A4FFA86785}"/>
          </ac:spMkLst>
        </pc:spChg>
      </pc:sldChg>
    </pc:docChg>
  </pc:docChgLst>
  <pc:docChgLst>
    <pc:chgData name="Aurelien Domont" userId="6da7715ce44349b3" providerId="LiveId" clId="{066BAB8A-4723-4C19-A1D1-11BD571DAE5A}"/>
    <pc:docChg chg="custSel addSld modSld">
      <pc:chgData name="Aurelien Domont" userId="6da7715ce44349b3" providerId="LiveId" clId="{066BAB8A-4723-4C19-A1D1-11BD571DAE5A}" dt="2021-05-12T07:47:07.252" v="150"/>
      <pc:docMkLst>
        <pc:docMk/>
      </pc:docMkLst>
      <pc:sldChg chg="modSp">
        <pc:chgData name="Aurelien Domont" userId="6da7715ce44349b3" providerId="LiveId" clId="{066BAB8A-4723-4C19-A1D1-11BD571DAE5A}" dt="2021-05-12T07:00:19.020" v="2"/>
        <pc:sldMkLst>
          <pc:docMk/>
          <pc:sldMk cId="597933806" sldId="1925"/>
        </pc:sldMkLst>
        <pc:spChg chg="mod">
          <ac:chgData name="Aurelien Domont" userId="6da7715ce44349b3" providerId="LiveId" clId="{066BAB8A-4723-4C19-A1D1-11BD571DAE5A}" dt="2021-05-12T07:00:19.020" v="2"/>
          <ac:spMkLst>
            <pc:docMk/>
            <pc:sldMk cId="597933806" sldId="1925"/>
            <ac:spMk id="16" creationId="{6C2BB713-9637-4B9B-938F-E9768876782A}"/>
          </ac:spMkLst>
        </pc:spChg>
      </pc:sldChg>
      <pc:sldChg chg="modSp">
        <pc:chgData name="Aurelien Domont" userId="6da7715ce44349b3" providerId="LiveId" clId="{066BAB8A-4723-4C19-A1D1-11BD571DAE5A}" dt="2021-05-12T07:00:19.020" v="2"/>
        <pc:sldMkLst>
          <pc:docMk/>
          <pc:sldMk cId="460632394" sldId="2035"/>
        </pc:sldMkLst>
        <pc:spChg chg="mod">
          <ac:chgData name="Aurelien Domont" userId="6da7715ce44349b3" providerId="LiveId" clId="{066BAB8A-4723-4C19-A1D1-11BD571DAE5A}" dt="2021-05-12T07:00:19.020" v="2"/>
          <ac:spMkLst>
            <pc:docMk/>
            <pc:sldMk cId="460632394" sldId="2035"/>
            <ac:spMk id="16" creationId="{6C2BB713-9637-4B9B-938F-E9768876782A}"/>
          </ac:spMkLst>
        </pc:spChg>
      </pc:sldChg>
      <pc:sldChg chg="modSp mod">
        <pc:chgData name="Aurelien Domont" userId="6da7715ce44349b3" providerId="LiveId" clId="{066BAB8A-4723-4C19-A1D1-11BD571DAE5A}" dt="2021-05-12T07:47:07.252" v="150"/>
        <pc:sldMkLst>
          <pc:docMk/>
          <pc:sldMk cId="2014281171" sldId="2150"/>
        </pc:sldMkLst>
        <pc:spChg chg="mod">
          <ac:chgData name="Aurelien Domont" userId="6da7715ce44349b3" providerId="LiveId" clId="{066BAB8A-4723-4C19-A1D1-11BD571DAE5A}" dt="2021-05-12T07:47:07.252" v="150"/>
          <ac:spMkLst>
            <pc:docMk/>
            <pc:sldMk cId="2014281171" sldId="2150"/>
            <ac:spMk id="23" creationId="{8A9EE56F-7681-405E-99E5-058F34F929DD}"/>
          </ac:spMkLst>
        </pc:spChg>
        <pc:spChg chg="mod">
          <ac:chgData name="Aurelien Domont" userId="6da7715ce44349b3" providerId="LiveId" clId="{066BAB8A-4723-4C19-A1D1-11BD571DAE5A}" dt="2021-05-12T07:04:07.247" v="5"/>
          <ac:spMkLst>
            <pc:docMk/>
            <pc:sldMk cId="2014281171" sldId="2150"/>
            <ac:spMk id="25" creationId="{99F88341-1918-42BF-99AA-E09800DAB49B}"/>
          </ac:spMkLst>
        </pc:spChg>
      </pc:sldChg>
      <pc:sldChg chg="modSp">
        <pc:chgData name="Aurelien Domont" userId="6da7715ce44349b3" providerId="LiveId" clId="{066BAB8A-4723-4C19-A1D1-11BD571DAE5A}" dt="2021-05-12T07:00:19.020" v="2"/>
        <pc:sldMkLst>
          <pc:docMk/>
          <pc:sldMk cId="4171692563" sldId="2152"/>
        </pc:sldMkLst>
        <pc:graphicFrameChg chg="mod">
          <ac:chgData name="Aurelien Domont" userId="6da7715ce44349b3" providerId="LiveId" clId="{066BAB8A-4723-4C19-A1D1-11BD571DAE5A}" dt="2021-05-12T07:00:19.020" v="2"/>
          <ac:graphicFrameMkLst>
            <pc:docMk/>
            <pc:sldMk cId="4171692563" sldId="2152"/>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3148501183" sldId="2157"/>
        </pc:sldMkLst>
        <pc:spChg chg="mod">
          <ac:chgData name="Aurelien Domont" userId="6da7715ce44349b3" providerId="LiveId" clId="{066BAB8A-4723-4C19-A1D1-11BD571DAE5A}" dt="2021-05-12T07:47:07.252" v="150"/>
          <ac:spMkLst>
            <pc:docMk/>
            <pc:sldMk cId="3148501183" sldId="2157"/>
            <ac:spMk id="34" creationId="{E2BDE0B8-90AF-4DE7-A71B-FE78ADE30B55}"/>
          </ac:spMkLst>
        </pc:spChg>
        <pc:spChg chg="mod">
          <ac:chgData name="Aurelien Domont" userId="6da7715ce44349b3" providerId="LiveId" clId="{066BAB8A-4723-4C19-A1D1-11BD571DAE5A}" dt="2021-05-12T07:04:07.247" v="5"/>
          <ac:spMkLst>
            <pc:docMk/>
            <pc:sldMk cId="3148501183" sldId="2157"/>
            <ac:spMk id="36" creationId="{DEACEA99-9E9A-408A-9277-86EFC1C60A69}"/>
          </ac:spMkLst>
        </pc:spChg>
      </pc:sldChg>
      <pc:sldChg chg="modSp">
        <pc:chgData name="Aurelien Domont" userId="6da7715ce44349b3" providerId="LiveId" clId="{066BAB8A-4723-4C19-A1D1-11BD571DAE5A}" dt="2021-05-12T07:04:07.247" v="5"/>
        <pc:sldMkLst>
          <pc:docMk/>
          <pc:sldMk cId="3299429826" sldId="2159"/>
        </pc:sldMkLst>
        <pc:graphicFrameChg chg="mod">
          <ac:chgData name="Aurelien Domont" userId="6da7715ce44349b3" providerId="LiveId" clId="{066BAB8A-4723-4C19-A1D1-11BD571DAE5A}" dt="2021-05-12T07:04:07.247" v="5"/>
          <ac:graphicFrameMkLst>
            <pc:docMk/>
            <pc:sldMk cId="3299429826" sldId="2159"/>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4083923273" sldId="2164"/>
        </pc:sldMkLst>
        <pc:spChg chg="mod">
          <ac:chgData name="Aurelien Domont" userId="6da7715ce44349b3" providerId="LiveId" clId="{066BAB8A-4723-4C19-A1D1-11BD571DAE5A}" dt="2021-05-12T07:47:07.252" v="150"/>
          <ac:spMkLst>
            <pc:docMk/>
            <pc:sldMk cId="4083923273" sldId="2164"/>
            <ac:spMk id="34" creationId="{E2BDE0B8-90AF-4DE7-A71B-FE78ADE30B55}"/>
          </ac:spMkLst>
        </pc:spChg>
        <pc:spChg chg="mod">
          <ac:chgData name="Aurelien Domont" userId="6da7715ce44349b3" providerId="LiveId" clId="{066BAB8A-4723-4C19-A1D1-11BD571DAE5A}" dt="2021-05-12T07:04:07.247" v="5"/>
          <ac:spMkLst>
            <pc:docMk/>
            <pc:sldMk cId="4083923273" sldId="2164"/>
            <ac:spMk id="36" creationId="{DEACEA99-9E9A-408A-9277-86EFC1C60A69}"/>
          </ac:spMkLst>
        </pc:spChg>
      </pc:sldChg>
      <pc:sldChg chg="modSp mod">
        <pc:chgData name="Aurelien Domont" userId="6da7715ce44349b3" providerId="LiveId" clId="{066BAB8A-4723-4C19-A1D1-11BD571DAE5A}" dt="2021-05-12T07:47:07.252" v="150"/>
        <pc:sldMkLst>
          <pc:docMk/>
          <pc:sldMk cId="2755439003" sldId="2165"/>
        </pc:sldMkLst>
        <pc:spChg chg="mod">
          <ac:chgData name="Aurelien Domont" userId="6da7715ce44349b3" providerId="LiveId" clId="{066BAB8A-4723-4C19-A1D1-11BD571DAE5A}" dt="2021-05-12T07:47:07.252" v="150"/>
          <ac:spMkLst>
            <pc:docMk/>
            <pc:sldMk cId="2755439003" sldId="2165"/>
            <ac:spMk id="34" creationId="{E2BDE0B8-90AF-4DE7-A71B-FE78ADE30B55}"/>
          </ac:spMkLst>
        </pc:spChg>
        <pc:spChg chg="mod">
          <ac:chgData name="Aurelien Domont" userId="6da7715ce44349b3" providerId="LiveId" clId="{066BAB8A-4723-4C19-A1D1-11BD571DAE5A}" dt="2021-05-12T07:04:07.247" v="5"/>
          <ac:spMkLst>
            <pc:docMk/>
            <pc:sldMk cId="2755439003" sldId="2165"/>
            <ac:spMk id="36" creationId="{DEACEA99-9E9A-408A-9277-86EFC1C60A69}"/>
          </ac:spMkLst>
        </pc:spChg>
      </pc:sldChg>
      <pc:sldChg chg="modSp mod">
        <pc:chgData name="Aurelien Domont" userId="6da7715ce44349b3" providerId="LiveId" clId="{066BAB8A-4723-4C19-A1D1-11BD571DAE5A}" dt="2021-05-12T07:47:07.252" v="150"/>
        <pc:sldMkLst>
          <pc:docMk/>
          <pc:sldMk cId="1411304364" sldId="2166"/>
        </pc:sldMkLst>
        <pc:spChg chg="mod">
          <ac:chgData name="Aurelien Domont" userId="6da7715ce44349b3" providerId="LiveId" clId="{066BAB8A-4723-4C19-A1D1-11BD571DAE5A}" dt="2021-05-12T07:47:07.252" v="150"/>
          <ac:spMkLst>
            <pc:docMk/>
            <pc:sldMk cId="1411304364" sldId="2166"/>
            <ac:spMk id="34" creationId="{E2BDE0B8-90AF-4DE7-A71B-FE78ADE30B55}"/>
          </ac:spMkLst>
        </pc:spChg>
        <pc:spChg chg="mod">
          <ac:chgData name="Aurelien Domont" userId="6da7715ce44349b3" providerId="LiveId" clId="{066BAB8A-4723-4C19-A1D1-11BD571DAE5A}" dt="2021-05-12T07:04:07.247" v="5"/>
          <ac:spMkLst>
            <pc:docMk/>
            <pc:sldMk cId="1411304364" sldId="2166"/>
            <ac:spMk id="36" creationId="{DEACEA99-9E9A-408A-9277-86EFC1C60A69}"/>
          </ac:spMkLst>
        </pc:spChg>
      </pc:sldChg>
      <pc:sldChg chg="modSp mod">
        <pc:chgData name="Aurelien Domont" userId="6da7715ce44349b3" providerId="LiveId" clId="{066BAB8A-4723-4C19-A1D1-11BD571DAE5A}" dt="2021-05-12T07:47:07.252" v="150"/>
        <pc:sldMkLst>
          <pc:docMk/>
          <pc:sldMk cId="3447837117" sldId="2167"/>
        </pc:sldMkLst>
        <pc:spChg chg="mod">
          <ac:chgData name="Aurelien Domont" userId="6da7715ce44349b3" providerId="LiveId" clId="{066BAB8A-4723-4C19-A1D1-11BD571DAE5A}" dt="2021-05-12T07:28:25.678" v="47" actId="1035"/>
          <ac:spMkLst>
            <pc:docMk/>
            <pc:sldMk cId="3447837117" sldId="2167"/>
            <ac:spMk id="15" creationId="{790F49E4-4FF7-4ED4-AB0E-7689BABA171D}"/>
          </ac:spMkLst>
        </pc:spChg>
        <pc:spChg chg="mod">
          <ac:chgData name="Aurelien Domont" userId="6da7715ce44349b3" providerId="LiveId" clId="{066BAB8A-4723-4C19-A1D1-11BD571DAE5A}" dt="2021-05-12T07:28:47.787" v="49" actId="20577"/>
          <ac:spMkLst>
            <pc:docMk/>
            <pc:sldMk cId="3447837117" sldId="2167"/>
            <ac:spMk id="16" creationId="{6C2BB713-9637-4B9B-938F-E9768876782A}"/>
          </ac:spMkLst>
        </pc:spChg>
        <pc:spChg chg="mod">
          <ac:chgData name="Aurelien Domont" userId="6da7715ce44349b3" providerId="LiveId" clId="{066BAB8A-4723-4C19-A1D1-11BD571DAE5A}" dt="2021-05-12T07:47:07.252" v="150"/>
          <ac:spMkLst>
            <pc:docMk/>
            <pc:sldMk cId="3447837117" sldId="2167"/>
            <ac:spMk id="34" creationId="{E2BDE0B8-90AF-4DE7-A71B-FE78ADE30B55}"/>
          </ac:spMkLst>
        </pc:spChg>
        <pc:spChg chg="mod">
          <ac:chgData name="Aurelien Domont" userId="6da7715ce44349b3" providerId="LiveId" clId="{066BAB8A-4723-4C19-A1D1-11BD571DAE5A}" dt="2021-05-12T07:04:07.247" v="5"/>
          <ac:spMkLst>
            <pc:docMk/>
            <pc:sldMk cId="3447837117" sldId="2167"/>
            <ac:spMk id="36" creationId="{DEACEA99-9E9A-408A-9277-86EFC1C60A69}"/>
          </ac:spMkLst>
        </pc:spChg>
      </pc:sldChg>
      <pc:sldChg chg="modSp add mod">
        <pc:chgData name="Aurelien Domont" userId="6da7715ce44349b3" providerId="LiveId" clId="{066BAB8A-4723-4C19-A1D1-11BD571DAE5A}" dt="2021-05-12T07:47:07.252" v="150"/>
        <pc:sldMkLst>
          <pc:docMk/>
          <pc:sldMk cId="3573950410" sldId="2168"/>
        </pc:sldMkLst>
        <pc:spChg chg="mod">
          <ac:chgData name="Aurelien Domont" userId="6da7715ce44349b3" providerId="LiveId" clId="{066BAB8A-4723-4C19-A1D1-11BD571DAE5A}" dt="2021-05-12T07:29:27.698" v="75" actId="1035"/>
          <ac:spMkLst>
            <pc:docMk/>
            <pc:sldMk cId="3573950410" sldId="2168"/>
            <ac:spMk id="15" creationId="{790F49E4-4FF7-4ED4-AB0E-7689BABA171D}"/>
          </ac:spMkLst>
        </pc:spChg>
        <pc:spChg chg="mod">
          <ac:chgData name="Aurelien Domont" userId="6da7715ce44349b3" providerId="LiveId" clId="{066BAB8A-4723-4C19-A1D1-11BD571DAE5A}" dt="2021-05-12T07:29:20.908" v="73" actId="20577"/>
          <ac:spMkLst>
            <pc:docMk/>
            <pc:sldMk cId="3573950410" sldId="2168"/>
            <ac:spMk id="16" creationId="{6C2BB713-9637-4B9B-938F-E9768876782A}"/>
          </ac:spMkLst>
        </pc:spChg>
        <pc:spChg chg="mod">
          <ac:chgData name="Aurelien Domont" userId="6da7715ce44349b3" providerId="LiveId" clId="{066BAB8A-4723-4C19-A1D1-11BD571DAE5A}" dt="2021-05-12T07:47:07.252" v="150"/>
          <ac:spMkLst>
            <pc:docMk/>
            <pc:sldMk cId="3573950410" sldId="2168"/>
            <ac:spMk id="34" creationId="{E2BDE0B8-90AF-4DE7-A71B-FE78ADE30B55}"/>
          </ac:spMkLst>
        </pc:spChg>
      </pc:sldChg>
      <pc:sldChg chg="modSp add mod">
        <pc:chgData name="Aurelien Domont" userId="6da7715ce44349b3" providerId="LiveId" clId="{066BAB8A-4723-4C19-A1D1-11BD571DAE5A}" dt="2021-05-12T07:47:07.252" v="150"/>
        <pc:sldMkLst>
          <pc:docMk/>
          <pc:sldMk cId="3572917904" sldId="2169"/>
        </pc:sldMkLst>
        <pc:spChg chg="mod">
          <ac:chgData name="Aurelien Domont" userId="6da7715ce44349b3" providerId="LiveId" clId="{066BAB8A-4723-4C19-A1D1-11BD571DAE5A}" dt="2021-05-12T07:31:03.124" v="98" actId="1035"/>
          <ac:spMkLst>
            <pc:docMk/>
            <pc:sldMk cId="3572917904" sldId="2169"/>
            <ac:spMk id="15" creationId="{790F49E4-4FF7-4ED4-AB0E-7689BABA171D}"/>
          </ac:spMkLst>
        </pc:spChg>
        <pc:spChg chg="mod">
          <ac:chgData name="Aurelien Domont" userId="6da7715ce44349b3" providerId="LiveId" clId="{066BAB8A-4723-4C19-A1D1-11BD571DAE5A}" dt="2021-05-12T07:30:57.181" v="78" actId="20577"/>
          <ac:spMkLst>
            <pc:docMk/>
            <pc:sldMk cId="3572917904" sldId="2169"/>
            <ac:spMk id="16" creationId="{6C2BB713-9637-4B9B-938F-E9768876782A}"/>
          </ac:spMkLst>
        </pc:spChg>
        <pc:spChg chg="mod">
          <ac:chgData name="Aurelien Domont" userId="6da7715ce44349b3" providerId="LiveId" clId="{066BAB8A-4723-4C19-A1D1-11BD571DAE5A}" dt="2021-05-12T07:47:07.252" v="150"/>
          <ac:spMkLst>
            <pc:docMk/>
            <pc:sldMk cId="3572917904" sldId="2169"/>
            <ac:spMk id="34" creationId="{E2BDE0B8-90AF-4DE7-A71B-FE78ADE30B55}"/>
          </ac:spMkLst>
        </pc:spChg>
      </pc:sldChg>
      <pc:sldChg chg="modSp add mod">
        <pc:chgData name="Aurelien Domont" userId="6da7715ce44349b3" providerId="LiveId" clId="{066BAB8A-4723-4C19-A1D1-11BD571DAE5A}" dt="2021-05-12T07:47:07.252" v="150"/>
        <pc:sldMkLst>
          <pc:docMk/>
          <pc:sldMk cId="1511000650" sldId="2170"/>
        </pc:sldMkLst>
        <pc:spChg chg="mod">
          <ac:chgData name="Aurelien Domont" userId="6da7715ce44349b3" providerId="LiveId" clId="{066BAB8A-4723-4C19-A1D1-11BD571DAE5A}" dt="2021-05-12T07:32:06.756" v="115" actId="1036"/>
          <ac:spMkLst>
            <pc:docMk/>
            <pc:sldMk cId="1511000650" sldId="2170"/>
            <ac:spMk id="15" creationId="{790F49E4-4FF7-4ED4-AB0E-7689BABA171D}"/>
          </ac:spMkLst>
        </pc:spChg>
        <pc:spChg chg="mod">
          <ac:chgData name="Aurelien Domont" userId="6da7715ce44349b3" providerId="LiveId" clId="{066BAB8A-4723-4C19-A1D1-11BD571DAE5A}" dt="2021-05-12T07:32:12.597" v="118" actId="20577"/>
          <ac:spMkLst>
            <pc:docMk/>
            <pc:sldMk cId="1511000650" sldId="2170"/>
            <ac:spMk id="16" creationId="{6C2BB713-9637-4B9B-938F-E9768876782A}"/>
          </ac:spMkLst>
        </pc:spChg>
        <pc:spChg chg="mod">
          <ac:chgData name="Aurelien Domont" userId="6da7715ce44349b3" providerId="LiveId" clId="{066BAB8A-4723-4C19-A1D1-11BD571DAE5A}" dt="2021-05-12T07:47:07.252" v="150"/>
          <ac:spMkLst>
            <pc:docMk/>
            <pc:sldMk cId="1511000650" sldId="2170"/>
            <ac:spMk id="34" creationId="{E2BDE0B8-90AF-4DE7-A71B-FE78ADE30B55}"/>
          </ac:spMkLst>
        </pc:spChg>
      </pc:sldChg>
      <pc:sldChg chg="modSp add mod">
        <pc:chgData name="Aurelien Domont" userId="6da7715ce44349b3" providerId="LiveId" clId="{066BAB8A-4723-4C19-A1D1-11BD571DAE5A}" dt="2021-05-12T07:47:07.252" v="150"/>
        <pc:sldMkLst>
          <pc:docMk/>
          <pc:sldMk cId="2988587118" sldId="2171"/>
        </pc:sldMkLst>
        <pc:spChg chg="mod">
          <ac:chgData name="Aurelien Domont" userId="6da7715ce44349b3" providerId="LiveId" clId="{066BAB8A-4723-4C19-A1D1-11BD571DAE5A}" dt="2021-05-12T07:35:04.092" v="142" actId="1036"/>
          <ac:spMkLst>
            <pc:docMk/>
            <pc:sldMk cId="2988587118" sldId="2171"/>
            <ac:spMk id="15" creationId="{790F49E4-4FF7-4ED4-AB0E-7689BABA171D}"/>
          </ac:spMkLst>
        </pc:spChg>
        <pc:spChg chg="mod">
          <ac:chgData name="Aurelien Domont" userId="6da7715ce44349b3" providerId="LiveId" clId="{066BAB8A-4723-4C19-A1D1-11BD571DAE5A}" dt="2021-05-12T07:34:58.615" v="121" actId="20577"/>
          <ac:spMkLst>
            <pc:docMk/>
            <pc:sldMk cId="2988587118" sldId="2171"/>
            <ac:spMk id="16" creationId="{6C2BB713-9637-4B9B-938F-E9768876782A}"/>
          </ac:spMkLst>
        </pc:spChg>
        <pc:spChg chg="mod">
          <ac:chgData name="Aurelien Domont" userId="6da7715ce44349b3" providerId="LiveId" clId="{066BAB8A-4723-4C19-A1D1-11BD571DAE5A}" dt="2021-05-12T07:47:07.252" v="150"/>
          <ac:spMkLst>
            <pc:docMk/>
            <pc:sldMk cId="2988587118" sldId="2171"/>
            <ac:spMk id="34" creationId="{E2BDE0B8-90AF-4DE7-A71B-FE78ADE30B55}"/>
          </ac:spMkLst>
        </pc:spChg>
      </pc:sldChg>
      <pc:sldChg chg="modSp add mod">
        <pc:chgData name="Aurelien Domont" userId="6da7715ce44349b3" providerId="LiveId" clId="{066BAB8A-4723-4C19-A1D1-11BD571DAE5A}" dt="2021-05-12T07:35:13.660" v="147" actId="20577"/>
        <pc:sldMkLst>
          <pc:docMk/>
          <pc:sldMk cId="1424356935" sldId="2172"/>
        </pc:sldMkLst>
        <pc:spChg chg="mod">
          <ac:chgData name="Aurelien Domont" userId="6da7715ce44349b3" providerId="LiveId" clId="{066BAB8A-4723-4C19-A1D1-11BD571DAE5A}" dt="2021-05-12T07:35:13.660" v="147" actId="20577"/>
          <ac:spMkLst>
            <pc:docMk/>
            <pc:sldMk cId="1424356935" sldId="2172"/>
            <ac:spMk id="16" creationId="{6C2BB713-9637-4B9B-938F-E9768876782A}"/>
          </ac:spMkLst>
        </pc:spChg>
      </pc:sldChg>
    </pc:docChg>
  </pc:docChgLst>
  <pc:docChgLst>
    <pc:chgData name="Aurelien Domont" userId="6da7715ce44349b3" providerId="LiveId" clId="{EDF23283-0898-4407-86A6-65053545776F}"/>
    <pc:docChg chg="modSld">
      <pc:chgData name="Aurelien Domont" userId="6da7715ce44349b3" providerId="LiveId" clId="{EDF23283-0898-4407-86A6-65053545776F}" dt="2021-07-14T05:52:03.375" v="10"/>
      <pc:docMkLst>
        <pc:docMk/>
      </pc:docMkLst>
      <pc:sldChg chg="modSp mod">
        <pc:chgData name="Aurelien Domont" userId="6da7715ce44349b3" providerId="LiveId" clId="{EDF23283-0898-4407-86A6-65053545776F}" dt="2021-07-14T05:52:03.375" v="10"/>
        <pc:sldMkLst>
          <pc:docMk/>
          <pc:sldMk cId="2014281171" sldId="2150"/>
        </pc:sldMkLst>
        <pc:spChg chg="mod">
          <ac:chgData name="Aurelien Domont" userId="6da7715ce44349b3" providerId="LiveId" clId="{EDF23283-0898-4407-86A6-65053545776F}" dt="2021-07-14T05:52:03.375" v="10"/>
          <ac:spMkLst>
            <pc:docMk/>
            <pc:sldMk cId="2014281171" sldId="2150"/>
            <ac:spMk id="25" creationId="{99F88341-1918-42BF-99AA-E09800DAB49B}"/>
          </ac:spMkLst>
        </pc:spChg>
      </pc:sldChg>
      <pc:sldChg chg="modSp mod">
        <pc:chgData name="Aurelien Domont" userId="6da7715ce44349b3" providerId="LiveId" clId="{EDF23283-0898-4407-86A6-65053545776F}" dt="2021-07-14T05:51:14.827" v="0"/>
        <pc:sldMkLst>
          <pc:docMk/>
          <pc:sldMk cId="3148501183" sldId="2157"/>
        </pc:sldMkLst>
        <pc:spChg chg="mod">
          <ac:chgData name="Aurelien Domont" userId="6da7715ce44349b3" providerId="LiveId" clId="{EDF23283-0898-4407-86A6-65053545776F}" dt="2021-07-14T05:51:14.827" v="0"/>
          <ac:spMkLst>
            <pc:docMk/>
            <pc:sldMk cId="3148501183" sldId="2157"/>
            <ac:spMk id="36" creationId="{DEACEA99-9E9A-408A-9277-86EFC1C60A69}"/>
          </ac:spMkLst>
        </pc:spChg>
      </pc:sldChg>
      <pc:sldChg chg="modSp mod">
        <pc:chgData name="Aurelien Domont" userId="6da7715ce44349b3" providerId="LiveId" clId="{EDF23283-0898-4407-86A6-65053545776F}" dt="2021-07-14T05:51:18.142" v="1"/>
        <pc:sldMkLst>
          <pc:docMk/>
          <pc:sldMk cId="4083923273" sldId="2164"/>
        </pc:sldMkLst>
        <pc:spChg chg="mod">
          <ac:chgData name="Aurelien Domont" userId="6da7715ce44349b3" providerId="LiveId" clId="{EDF23283-0898-4407-86A6-65053545776F}" dt="2021-07-14T05:51:18.142" v="1"/>
          <ac:spMkLst>
            <pc:docMk/>
            <pc:sldMk cId="4083923273" sldId="2164"/>
            <ac:spMk id="36" creationId="{DEACEA99-9E9A-408A-9277-86EFC1C60A69}"/>
          </ac:spMkLst>
        </pc:spChg>
      </pc:sldChg>
      <pc:sldChg chg="modSp mod">
        <pc:chgData name="Aurelien Domont" userId="6da7715ce44349b3" providerId="LiveId" clId="{EDF23283-0898-4407-86A6-65053545776F}" dt="2021-07-14T05:51:22.061" v="2"/>
        <pc:sldMkLst>
          <pc:docMk/>
          <pc:sldMk cId="2755439003" sldId="2165"/>
        </pc:sldMkLst>
        <pc:spChg chg="mod">
          <ac:chgData name="Aurelien Domont" userId="6da7715ce44349b3" providerId="LiveId" clId="{EDF23283-0898-4407-86A6-65053545776F}" dt="2021-07-14T05:51:22.061" v="2"/>
          <ac:spMkLst>
            <pc:docMk/>
            <pc:sldMk cId="2755439003" sldId="2165"/>
            <ac:spMk id="36" creationId="{DEACEA99-9E9A-408A-9277-86EFC1C60A69}"/>
          </ac:spMkLst>
        </pc:spChg>
      </pc:sldChg>
      <pc:sldChg chg="modSp mod">
        <pc:chgData name="Aurelien Domont" userId="6da7715ce44349b3" providerId="LiveId" clId="{EDF23283-0898-4407-86A6-65053545776F}" dt="2021-07-14T05:51:32.594" v="3"/>
        <pc:sldMkLst>
          <pc:docMk/>
          <pc:sldMk cId="1411304364" sldId="2166"/>
        </pc:sldMkLst>
        <pc:spChg chg="mod">
          <ac:chgData name="Aurelien Domont" userId="6da7715ce44349b3" providerId="LiveId" clId="{EDF23283-0898-4407-86A6-65053545776F}" dt="2021-07-14T05:51:32.594" v="3"/>
          <ac:spMkLst>
            <pc:docMk/>
            <pc:sldMk cId="1411304364" sldId="2166"/>
            <ac:spMk id="36" creationId="{DEACEA99-9E9A-408A-9277-86EFC1C60A69}"/>
          </ac:spMkLst>
        </pc:spChg>
      </pc:sldChg>
      <pc:sldChg chg="modSp mod">
        <pc:chgData name="Aurelien Domont" userId="6da7715ce44349b3" providerId="LiveId" clId="{EDF23283-0898-4407-86A6-65053545776F}" dt="2021-07-14T05:51:36.194" v="4"/>
        <pc:sldMkLst>
          <pc:docMk/>
          <pc:sldMk cId="3447837117" sldId="2167"/>
        </pc:sldMkLst>
        <pc:spChg chg="mod">
          <ac:chgData name="Aurelien Domont" userId="6da7715ce44349b3" providerId="LiveId" clId="{EDF23283-0898-4407-86A6-65053545776F}" dt="2021-07-14T05:51:36.194" v="4"/>
          <ac:spMkLst>
            <pc:docMk/>
            <pc:sldMk cId="3447837117" sldId="2167"/>
            <ac:spMk id="36" creationId="{DEACEA99-9E9A-408A-9277-86EFC1C60A69}"/>
          </ac:spMkLst>
        </pc:spChg>
      </pc:sldChg>
      <pc:sldChg chg="modSp mod">
        <pc:chgData name="Aurelien Domont" userId="6da7715ce44349b3" providerId="LiveId" clId="{EDF23283-0898-4407-86A6-65053545776F}" dt="2021-07-14T05:51:45.465" v="6"/>
        <pc:sldMkLst>
          <pc:docMk/>
          <pc:sldMk cId="3573950410" sldId="2168"/>
        </pc:sldMkLst>
        <pc:spChg chg="mod">
          <ac:chgData name="Aurelien Domont" userId="6da7715ce44349b3" providerId="LiveId" clId="{EDF23283-0898-4407-86A6-65053545776F}" dt="2021-07-14T05:51:45.465" v="6"/>
          <ac:spMkLst>
            <pc:docMk/>
            <pc:sldMk cId="3573950410" sldId="2168"/>
            <ac:spMk id="36" creationId="{DEACEA99-9E9A-408A-9277-86EFC1C60A69}"/>
          </ac:spMkLst>
        </pc:spChg>
      </pc:sldChg>
      <pc:sldChg chg="modSp mod">
        <pc:chgData name="Aurelien Domont" userId="6da7715ce44349b3" providerId="LiveId" clId="{EDF23283-0898-4407-86A6-65053545776F}" dt="2021-07-14T05:51:49.177" v="7"/>
        <pc:sldMkLst>
          <pc:docMk/>
          <pc:sldMk cId="3572917904" sldId="2169"/>
        </pc:sldMkLst>
        <pc:spChg chg="mod">
          <ac:chgData name="Aurelien Domont" userId="6da7715ce44349b3" providerId="LiveId" clId="{EDF23283-0898-4407-86A6-65053545776F}" dt="2021-07-14T05:51:49.177" v="7"/>
          <ac:spMkLst>
            <pc:docMk/>
            <pc:sldMk cId="3572917904" sldId="2169"/>
            <ac:spMk id="36" creationId="{DEACEA99-9E9A-408A-9277-86EFC1C60A69}"/>
          </ac:spMkLst>
        </pc:spChg>
      </pc:sldChg>
      <pc:sldChg chg="modSp mod">
        <pc:chgData name="Aurelien Domont" userId="6da7715ce44349b3" providerId="LiveId" clId="{EDF23283-0898-4407-86A6-65053545776F}" dt="2021-07-14T05:51:54.622" v="8"/>
        <pc:sldMkLst>
          <pc:docMk/>
          <pc:sldMk cId="1511000650" sldId="2170"/>
        </pc:sldMkLst>
        <pc:spChg chg="mod">
          <ac:chgData name="Aurelien Domont" userId="6da7715ce44349b3" providerId="LiveId" clId="{EDF23283-0898-4407-86A6-65053545776F}" dt="2021-07-14T05:51:54.622" v="8"/>
          <ac:spMkLst>
            <pc:docMk/>
            <pc:sldMk cId="1511000650" sldId="2170"/>
            <ac:spMk id="36" creationId="{DEACEA99-9E9A-408A-9277-86EFC1C60A69}"/>
          </ac:spMkLst>
        </pc:spChg>
      </pc:sldChg>
      <pc:sldChg chg="modSp mod">
        <pc:chgData name="Aurelien Domont" userId="6da7715ce44349b3" providerId="LiveId" clId="{EDF23283-0898-4407-86A6-65053545776F}" dt="2021-07-14T05:51:59.026" v="9"/>
        <pc:sldMkLst>
          <pc:docMk/>
          <pc:sldMk cId="2988587118" sldId="2171"/>
        </pc:sldMkLst>
        <pc:spChg chg="mod">
          <ac:chgData name="Aurelien Domont" userId="6da7715ce44349b3" providerId="LiveId" clId="{EDF23283-0898-4407-86A6-65053545776F}" dt="2021-07-14T05:51:59.026" v="9"/>
          <ac:spMkLst>
            <pc:docMk/>
            <pc:sldMk cId="2988587118" sldId="2171"/>
            <ac:spMk id="36" creationId="{DEACEA99-9E9A-408A-9277-86EFC1C60A69}"/>
          </ac:spMkLst>
        </pc:spChg>
      </pc:sldChg>
      <pc:sldChg chg="modSp mod">
        <pc:chgData name="Aurelien Domont" userId="6da7715ce44349b3" providerId="LiveId" clId="{EDF23283-0898-4407-86A6-65053545776F}" dt="2021-07-14T05:51:40.125" v="5"/>
        <pc:sldMkLst>
          <pc:docMk/>
          <pc:sldMk cId="20768916" sldId="2177"/>
        </pc:sldMkLst>
        <pc:spChg chg="mod">
          <ac:chgData name="Aurelien Domont" userId="6da7715ce44349b3" providerId="LiveId" clId="{EDF23283-0898-4407-86A6-65053545776F}" dt="2021-07-14T05:51:40.125" v="5"/>
          <ac:spMkLst>
            <pc:docMk/>
            <pc:sldMk cId="20768916" sldId="2177"/>
            <ac:spMk id="36" creationId="{DEACEA99-9E9A-408A-9277-86EFC1C60A69}"/>
          </ac:spMkLst>
        </pc:spChg>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6A8CF917-EDF3-4DE1-8669-379B5B41054B}"/>
    <pc:docChg chg="custSel addSld delSld modSld sldOrd">
      <pc:chgData name="Aurelien Domont" userId="6da7715ce44349b3" providerId="LiveId" clId="{6A8CF917-EDF3-4DE1-8669-379B5B41054B}" dt="2021-05-04T04:32:28.153" v="246"/>
      <pc:docMkLst>
        <pc:docMk/>
      </pc:docMkLst>
      <pc:sldChg chg="modSp mod">
        <pc:chgData name="Aurelien Domont" userId="6da7715ce44349b3" providerId="LiveId" clId="{6A8CF917-EDF3-4DE1-8669-379B5B41054B}" dt="2021-05-04T04:23:25.609" v="140" actId="14100"/>
        <pc:sldMkLst>
          <pc:docMk/>
          <pc:sldMk cId="1659127470" sldId="1924"/>
        </pc:sldMkLst>
        <pc:spChg chg="mod">
          <ac:chgData name="Aurelien Domont" userId="6da7715ce44349b3" providerId="LiveId" clId="{6A8CF917-EDF3-4DE1-8669-379B5B41054B}" dt="2021-05-04T04:15:47.424" v="84" actId="20577"/>
          <ac:spMkLst>
            <pc:docMk/>
            <pc:sldMk cId="1659127470" sldId="1924"/>
            <ac:spMk id="14" creationId="{493F826D-CCF6-440C-BFA4-C3799A3ED755}"/>
          </ac:spMkLst>
        </pc:spChg>
        <pc:spChg chg="mod">
          <ac:chgData name="Aurelien Domont" userId="6da7715ce44349b3" providerId="LiveId" clId="{6A8CF917-EDF3-4DE1-8669-379B5B41054B}" dt="2021-05-04T04:19:35.734" v="110" actId="20577"/>
          <ac:spMkLst>
            <pc:docMk/>
            <pc:sldMk cId="1659127470" sldId="1924"/>
            <ac:spMk id="18" creationId="{0BCD4164-FFCE-447D-8269-E5891A7FEF0D}"/>
          </ac:spMkLst>
        </pc:spChg>
        <pc:spChg chg="mod">
          <ac:chgData name="Aurelien Domont" userId="6da7715ce44349b3" providerId="LiveId" clId="{6A8CF917-EDF3-4DE1-8669-379B5B41054B}" dt="2021-05-04T04:13:07.762" v="27" actId="20577"/>
          <ac:spMkLst>
            <pc:docMk/>
            <pc:sldMk cId="1659127470" sldId="1924"/>
            <ac:spMk id="19" creationId="{554EE1B4-E11D-4B37-9F78-B5B5FA8738AA}"/>
          </ac:spMkLst>
        </pc:spChg>
        <pc:spChg chg="mod">
          <ac:chgData name="Aurelien Domont" userId="6da7715ce44349b3" providerId="LiveId" clId="{6A8CF917-EDF3-4DE1-8669-379B5B41054B}" dt="2021-05-04T04:23:25.609" v="140" actId="14100"/>
          <ac:spMkLst>
            <pc:docMk/>
            <pc:sldMk cId="1659127470" sldId="1924"/>
            <ac:spMk id="34" creationId="{E2BDE0B8-90AF-4DE7-A71B-FE78ADE30B55}"/>
          </ac:spMkLst>
        </pc:spChg>
        <pc:spChg chg="mod">
          <ac:chgData name="Aurelien Domont" userId="6da7715ce44349b3" providerId="LiveId" clId="{6A8CF917-EDF3-4DE1-8669-379B5B41054B}" dt="2021-05-04T04:22:37.400" v="132" actId="20577"/>
          <ac:spMkLst>
            <pc:docMk/>
            <pc:sldMk cId="1659127470" sldId="1924"/>
            <ac:spMk id="35" creationId="{1BC3B263-81C3-42AD-96C7-45AB7FFD0557}"/>
          </ac:spMkLst>
        </pc:spChg>
        <pc:spChg chg="mod">
          <ac:chgData name="Aurelien Domont" userId="6da7715ce44349b3" providerId="LiveId" clId="{6A8CF917-EDF3-4DE1-8669-379B5B41054B}" dt="2021-05-04T04:22:53.168" v="134"/>
          <ac:spMkLst>
            <pc:docMk/>
            <pc:sldMk cId="1659127470" sldId="1924"/>
            <ac:spMk id="36" creationId="{DEACEA99-9E9A-408A-9277-86EFC1C60A69}"/>
          </ac:spMkLst>
        </pc:spChg>
      </pc:sldChg>
      <pc:sldChg chg="addSp modSp mod ord">
        <pc:chgData name="Aurelien Domont" userId="6da7715ce44349b3" providerId="LiveId" clId="{6A8CF917-EDF3-4DE1-8669-379B5B41054B}" dt="2021-05-04T04:26:11.920" v="223"/>
        <pc:sldMkLst>
          <pc:docMk/>
          <pc:sldMk cId="235018652" sldId="1927"/>
        </pc:sldMkLst>
        <pc:spChg chg="mod">
          <ac:chgData name="Aurelien Domont" userId="6da7715ce44349b3" providerId="LiveId" clId="{6A8CF917-EDF3-4DE1-8669-379B5B41054B}" dt="2021-05-04T04:21:11.171" v="114" actId="20577"/>
          <ac:spMkLst>
            <pc:docMk/>
            <pc:sldMk cId="235018652" sldId="1927"/>
            <ac:spMk id="16" creationId="{6C2BB713-9637-4B9B-938F-E9768876782A}"/>
          </ac:spMkLst>
        </pc:spChg>
        <pc:spChg chg="mod">
          <ac:chgData name="Aurelien Domont" userId="6da7715ce44349b3" providerId="LiveId" clId="{6A8CF917-EDF3-4DE1-8669-379B5B41054B}" dt="2021-05-04T04:25:05.146" v="141"/>
          <ac:spMkLst>
            <pc:docMk/>
            <pc:sldMk cId="235018652" sldId="1927"/>
            <ac:spMk id="19" creationId="{23DA4083-BD90-4325-9E06-136E6D5302BE}"/>
          </ac:spMkLst>
        </pc:spChg>
        <pc:spChg chg="mod">
          <ac:chgData name="Aurelien Domont" userId="6da7715ce44349b3" providerId="LiveId" clId="{6A8CF917-EDF3-4DE1-8669-379B5B41054B}" dt="2021-05-04T04:25:05.146" v="141"/>
          <ac:spMkLst>
            <pc:docMk/>
            <pc:sldMk cId="235018652" sldId="1927"/>
            <ac:spMk id="20" creationId="{F0394F30-F18F-434B-B0AD-E3C8518BB59F}"/>
          </ac:spMkLst>
        </pc:spChg>
        <pc:grpChg chg="add mod">
          <ac:chgData name="Aurelien Domont" userId="6da7715ce44349b3" providerId="LiveId" clId="{6A8CF917-EDF3-4DE1-8669-379B5B41054B}" dt="2021-05-04T04:25:05.146" v="141"/>
          <ac:grpSpMkLst>
            <pc:docMk/>
            <pc:sldMk cId="235018652" sldId="1927"/>
            <ac:grpSpMk id="18" creationId="{B2CCB62A-8EED-4F8E-95CB-0D9BBFC42FE9}"/>
          </ac:grpSpMkLst>
        </pc:grpChg>
        <pc:cxnChg chg="mod">
          <ac:chgData name="Aurelien Domont" userId="6da7715ce44349b3" providerId="LiveId" clId="{6A8CF917-EDF3-4DE1-8669-379B5B41054B}" dt="2021-05-04T04:25:05.146" v="141"/>
          <ac:cxnSpMkLst>
            <pc:docMk/>
            <pc:sldMk cId="235018652" sldId="1927"/>
            <ac:cxnSpMk id="25" creationId="{35507D24-81BA-4BF6-AD8D-C16951921095}"/>
          </ac:cxnSpMkLst>
        </pc:cxnChg>
        <pc:cxnChg chg="mod">
          <ac:chgData name="Aurelien Domont" userId="6da7715ce44349b3" providerId="LiveId" clId="{6A8CF917-EDF3-4DE1-8669-379B5B41054B}" dt="2021-05-04T04:25:05.146" v="141"/>
          <ac:cxnSpMkLst>
            <pc:docMk/>
            <pc:sldMk cId="235018652" sldId="1927"/>
            <ac:cxnSpMk id="26" creationId="{EF6F5FBE-FB82-4C5C-9C44-05DE294557F5}"/>
          </ac:cxnSpMkLst>
        </pc:cxnChg>
      </pc:sldChg>
      <pc:sldChg chg="addSp modSp mod">
        <pc:chgData name="Aurelien Domont" userId="6da7715ce44349b3" providerId="LiveId" clId="{6A8CF917-EDF3-4DE1-8669-379B5B41054B}" dt="2021-05-04T04:30:57.708" v="245" actId="20577"/>
        <pc:sldMkLst>
          <pc:docMk/>
          <pc:sldMk cId="802743741" sldId="1929"/>
        </pc:sldMkLst>
        <pc:spChg chg="mod">
          <ac:chgData name="Aurelien Domont" userId="6da7715ce44349b3" providerId="LiveId" clId="{6A8CF917-EDF3-4DE1-8669-379B5B41054B}" dt="2021-05-04T04:28:50.477" v="225"/>
          <ac:spMkLst>
            <pc:docMk/>
            <pc:sldMk cId="802743741" sldId="1929"/>
            <ac:spMk id="7" creationId="{ED8A5AB2-899B-4948-8DC5-95379A688CBB}"/>
          </ac:spMkLst>
        </pc:spChg>
        <pc:spChg chg="mod">
          <ac:chgData name="Aurelien Domont" userId="6da7715ce44349b3" providerId="LiveId" clId="{6A8CF917-EDF3-4DE1-8669-379B5B41054B}" dt="2021-05-04T04:30:57.708" v="245" actId="20577"/>
          <ac:spMkLst>
            <pc:docMk/>
            <pc:sldMk cId="802743741" sldId="1929"/>
            <ac:spMk id="8" creationId="{8C9DE28A-BE55-42FF-8DFE-581791AF75F8}"/>
          </ac:spMkLst>
        </pc:spChg>
        <pc:grpChg chg="add mod">
          <ac:chgData name="Aurelien Domont" userId="6da7715ce44349b3" providerId="LiveId" clId="{6A8CF917-EDF3-4DE1-8669-379B5B41054B}" dt="2021-05-04T04:28:50.477" v="225"/>
          <ac:grpSpMkLst>
            <pc:docMk/>
            <pc:sldMk cId="802743741" sldId="1929"/>
            <ac:grpSpMk id="6" creationId="{95F0BAB5-0014-4793-9CE0-1646926D133E}"/>
          </ac:grpSpMkLst>
        </pc:grpChg>
        <pc:cxnChg chg="mod">
          <ac:chgData name="Aurelien Domont" userId="6da7715ce44349b3" providerId="LiveId" clId="{6A8CF917-EDF3-4DE1-8669-379B5B41054B}" dt="2021-05-04T04:28:50.477" v="225"/>
          <ac:cxnSpMkLst>
            <pc:docMk/>
            <pc:sldMk cId="802743741" sldId="1929"/>
            <ac:cxnSpMk id="9" creationId="{FAD1F902-0EE0-4E05-8836-28039B3EED7F}"/>
          </ac:cxnSpMkLst>
        </pc:cxnChg>
        <pc:cxnChg chg="mod">
          <ac:chgData name="Aurelien Domont" userId="6da7715ce44349b3" providerId="LiveId" clId="{6A8CF917-EDF3-4DE1-8669-379B5B41054B}" dt="2021-05-04T04:28:50.477" v="225"/>
          <ac:cxnSpMkLst>
            <pc:docMk/>
            <pc:sldMk cId="802743741" sldId="1929"/>
            <ac:cxnSpMk id="10" creationId="{84902BA3-848D-4576-965F-B50324020325}"/>
          </ac:cxnSpMkLst>
        </pc:cxnChg>
      </pc:sldChg>
      <pc:sldChg chg="del">
        <pc:chgData name="Aurelien Domont" userId="6da7715ce44349b3" providerId="LiveId" clId="{6A8CF917-EDF3-4DE1-8669-379B5B41054B}" dt="2021-05-04T04:18:12.703" v="108" actId="47"/>
        <pc:sldMkLst>
          <pc:docMk/>
          <pc:sldMk cId="3963700937" sldId="2030"/>
        </pc:sldMkLst>
      </pc:sldChg>
      <pc:sldChg chg="del">
        <pc:chgData name="Aurelien Domont" userId="6da7715ce44349b3" providerId="LiveId" clId="{6A8CF917-EDF3-4DE1-8669-379B5B41054B}" dt="2021-05-04T04:27:00.766" v="224" actId="47"/>
        <pc:sldMkLst>
          <pc:docMk/>
          <pc:sldMk cId="3382533371" sldId="2031"/>
        </pc:sldMkLst>
      </pc:sldChg>
      <pc:sldChg chg="delSp modSp add mod">
        <pc:chgData name="Aurelien Domont" userId="6da7715ce44349b3" providerId="LiveId" clId="{6A8CF917-EDF3-4DE1-8669-379B5B41054B}" dt="2021-05-04T04:29:36.971" v="230" actId="478"/>
        <pc:sldMkLst>
          <pc:docMk/>
          <pc:sldMk cId="2500281719" sldId="2034"/>
        </pc:sldMkLst>
        <pc:spChg chg="mod">
          <ac:chgData name="Aurelien Domont" userId="6da7715ce44349b3" providerId="LiveId" clId="{6A8CF917-EDF3-4DE1-8669-379B5B41054B}" dt="2021-05-04T04:25:16.844" v="150" actId="20577"/>
          <ac:spMkLst>
            <pc:docMk/>
            <pc:sldMk cId="2500281719" sldId="2034"/>
            <ac:spMk id="20" creationId="{F0394F30-F18F-434B-B0AD-E3C8518BB59F}"/>
          </ac:spMkLst>
        </pc:spChg>
        <pc:spChg chg="mod">
          <ac:chgData name="Aurelien Domont" userId="6da7715ce44349b3" providerId="LiveId" clId="{6A8CF917-EDF3-4DE1-8669-379B5B41054B}" dt="2021-05-04T04:25:50.244" v="216" actId="20577"/>
          <ac:spMkLst>
            <pc:docMk/>
            <pc:sldMk cId="2500281719" sldId="2034"/>
            <ac:spMk id="22" creationId="{4C65153E-2DC5-4549-9BEA-3CBB7CE57BAC}"/>
          </ac:spMkLst>
        </pc:spChg>
        <pc:spChg chg="mod">
          <ac:chgData name="Aurelien Domont" userId="6da7715ce44349b3" providerId="LiveId" clId="{6A8CF917-EDF3-4DE1-8669-379B5B41054B}" dt="2021-05-04T04:26:03.107" v="217"/>
          <ac:spMkLst>
            <pc:docMk/>
            <pc:sldMk cId="2500281719" sldId="2034"/>
            <ac:spMk id="24" creationId="{57B39C43-1692-4644-9018-578041BDAC00}"/>
          </ac:spMkLst>
        </pc:spChg>
        <pc:spChg chg="mod">
          <ac:chgData name="Aurelien Domont" userId="6da7715ce44349b3" providerId="LiveId" clId="{6A8CF917-EDF3-4DE1-8669-379B5B41054B}" dt="2021-05-04T04:26:04.475" v="218"/>
          <ac:spMkLst>
            <pc:docMk/>
            <pc:sldMk cId="2500281719" sldId="2034"/>
            <ac:spMk id="35" creationId="{68CAC4AC-FC9D-495D-A867-A1F7DFAB5EE5}"/>
          </ac:spMkLst>
        </pc:spChg>
        <pc:spChg chg="mod">
          <ac:chgData name="Aurelien Domont" userId="6da7715ce44349b3" providerId="LiveId" clId="{6A8CF917-EDF3-4DE1-8669-379B5B41054B}" dt="2021-05-04T04:26:05.803" v="219"/>
          <ac:spMkLst>
            <pc:docMk/>
            <pc:sldMk cId="2500281719" sldId="2034"/>
            <ac:spMk id="37" creationId="{8DD3C8A5-5216-47D7-8F63-A1BED34F8035}"/>
          </ac:spMkLst>
        </pc:spChg>
        <pc:spChg chg="mod">
          <ac:chgData name="Aurelien Domont" userId="6da7715ce44349b3" providerId="LiveId" clId="{6A8CF917-EDF3-4DE1-8669-379B5B41054B}" dt="2021-05-04T04:26:07.217" v="220"/>
          <ac:spMkLst>
            <pc:docMk/>
            <pc:sldMk cId="2500281719" sldId="2034"/>
            <ac:spMk id="39" creationId="{99497429-E6FA-47CD-BD12-B83ECF06216C}"/>
          </ac:spMkLst>
        </pc:spChg>
        <pc:spChg chg="mod">
          <ac:chgData name="Aurelien Domont" userId="6da7715ce44349b3" providerId="LiveId" clId="{6A8CF917-EDF3-4DE1-8669-379B5B41054B}" dt="2021-05-04T04:26:08.535" v="221"/>
          <ac:spMkLst>
            <pc:docMk/>
            <pc:sldMk cId="2500281719" sldId="2034"/>
            <ac:spMk id="42" creationId="{8AB09FC8-C5F5-4297-AD26-D8245375169B}"/>
          </ac:spMkLst>
        </pc:spChg>
        <pc:grpChg chg="del mod">
          <ac:chgData name="Aurelien Domont" userId="6da7715ce44349b3" providerId="LiveId" clId="{6A8CF917-EDF3-4DE1-8669-379B5B41054B}" dt="2021-05-04T04:29:36.971" v="230" actId="478"/>
          <ac:grpSpMkLst>
            <pc:docMk/>
            <pc:sldMk cId="2500281719" sldId="2034"/>
            <ac:grpSpMk id="18" creationId="{B2CCB62A-8EED-4F8E-95CB-0D9BBFC42FE9}"/>
          </ac:grpSpMkLst>
        </pc:grpChg>
      </pc:sldChg>
      <pc:sldChg chg="add">
        <pc:chgData name="Aurelien Domont" userId="6da7715ce44349b3" providerId="LiveId" clId="{6A8CF917-EDF3-4DE1-8669-379B5B41054B}" dt="2021-05-04T04:32:28.153" v="246"/>
        <pc:sldMkLst>
          <pc:docMk/>
          <pc:sldMk cId="4044506472" sldId="2035"/>
        </pc:sldMkLst>
      </pc:sldChg>
    </pc:docChg>
  </pc:docChgLst>
  <pc:docChgLst>
    <pc:chgData name="Aurelien Domont" userId="6da7715ce44349b3" providerId="LiveId" clId="{3DEDA90E-08D5-44D3-BA26-779AE9F902FC}"/>
    <pc:docChg chg="undo custSel addSld delSld modSld sldOrd">
      <pc:chgData name="Aurelien Domont" userId="6da7715ce44349b3" providerId="LiveId" clId="{3DEDA90E-08D5-44D3-BA26-779AE9F902FC}" dt="2021-05-07T06:19:57.493" v="1297" actId="20577"/>
      <pc:docMkLst>
        <pc:docMk/>
      </pc:docMkLst>
      <pc:sldChg chg="modSp del mod">
        <pc:chgData name="Aurelien Domont" userId="6da7715ce44349b3" providerId="LiveId" clId="{3DEDA90E-08D5-44D3-BA26-779AE9F902FC}" dt="2021-05-07T04:34:21.637" v="448" actId="47"/>
        <pc:sldMkLst>
          <pc:docMk/>
          <pc:sldMk cId="1659127470" sldId="1924"/>
        </pc:sldMkLst>
        <pc:spChg chg="mod">
          <ac:chgData name="Aurelien Domont" userId="6da7715ce44349b3" providerId="LiveId" clId="{3DEDA90E-08D5-44D3-BA26-779AE9F902FC}" dt="2021-05-07T04:18:26.214" v="332" actId="1076"/>
          <ac:spMkLst>
            <pc:docMk/>
            <pc:sldMk cId="1659127470" sldId="1924"/>
            <ac:spMk id="5" creationId="{91206A1C-4398-49D5-B631-7CF32C406825}"/>
          </ac:spMkLst>
        </pc:spChg>
        <pc:spChg chg="mod">
          <ac:chgData name="Aurelien Domont" userId="6da7715ce44349b3" providerId="LiveId" clId="{3DEDA90E-08D5-44D3-BA26-779AE9F902FC}" dt="2021-05-07T04:16:39.322" v="327" actId="20577"/>
          <ac:spMkLst>
            <pc:docMk/>
            <pc:sldMk cId="1659127470" sldId="1924"/>
            <ac:spMk id="14" creationId="{493F826D-CCF6-440C-BFA4-C3799A3ED755}"/>
          </ac:spMkLst>
        </pc:spChg>
        <pc:spChg chg="mod">
          <ac:chgData name="Aurelien Domont" userId="6da7715ce44349b3" providerId="LiveId" clId="{3DEDA90E-08D5-44D3-BA26-779AE9F902FC}" dt="2021-05-07T04:17:06.577" v="329" actId="12"/>
          <ac:spMkLst>
            <pc:docMk/>
            <pc:sldMk cId="1659127470" sldId="1924"/>
            <ac:spMk id="34" creationId="{E2BDE0B8-90AF-4DE7-A71B-FE78ADE30B55}"/>
          </ac:spMkLst>
        </pc:spChg>
      </pc:sldChg>
      <pc:sldChg chg="delSp modSp add mod">
        <pc:chgData name="Aurelien Domont" userId="6da7715ce44349b3" providerId="LiveId" clId="{3DEDA90E-08D5-44D3-BA26-779AE9F902FC}" dt="2021-05-07T06:11:19.176" v="968"/>
        <pc:sldMkLst>
          <pc:docMk/>
          <pc:sldMk cId="2434730998" sldId="1964"/>
        </pc:sldMkLst>
        <pc:spChg chg="mod">
          <ac:chgData name="Aurelien Domont" userId="6da7715ce44349b3" providerId="LiveId" clId="{3DEDA90E-08D5-44D3-BA26-779AE9F902FC}" dt="2021-05-07T06:11:19.176" v="968"/>
          <ac:spMkLst>
            <pc:docMk/>
            <pc:sldMk cId="2434730998" sldId="1964"/>
            <ac:spMk id="29" creationId="{E7057E1C-0379-4BF8-AFA9-1ADE9F123A50}"/>
          </ac:spMkLst>
        </pc:spChg>
        <pc:spChg chg="del">
          <ac:chgData name="Aurelien Domont" userId="6da7715ce44349b3" providerId="LiveId" clId="{3DEDA90E-08D5-44D3-BA26-779AE9F902FC}" dt="2021-05-07T06:07:31.901" v="845" actId="478"/>
          <ac:spMkLst>
            <pc:docMk/>
            <pc:sldMk cId="2434730998" sldId="1964"/>
            <ac:spMk id="30" creationId="{F4791A64-BB22-493B-B84D-7E6376A748BD}"/>
          </ac:spMkLst>
        </pc:spChg>
        <pc:spChg chg="del">
          <ac:chgData name="Aurelien Domont" userId="6da7715ce44349b3" providerId="LiveId" clId="{3DEDA90E-08D5-44D3-BA26-779AE9F902FC}" dt="2021-05-07T06:07:31.901" v="845" actId="478"/>
          <ac:spMkLst>
            <pc:docMk/>
            <pc:sldMk cId="2434730998" sldId="1964"/>
            <ac:spMk id="31" creationId="{12BD58FF-B47F-4554-8B05-4AA19AC62680}"/>
          </ac:spMkLst>
        </pc:spChg>
        <pc:spChg chg="del">
          <ac:chgData name="Aurelien Domont" userId="6da7715ce44349b3" providerId="LiveId" clId="{3DEDA90E-08D5-44D3-BA26-779AE9F902FC}" dt="2021-05-07T06:07:31.901" v="845" actId="478"/>
          <ac:spMkLst>
            <pc:docMk/>
            <pc:sldMk cId="2434730998" sldId="1964"/>
            <ac:spMk id="32" creationId="{FBE96D0B-57B9-4450-94A5-96B721C772D6}"/>
          </ac:spMkLst>
        </pc:spChg>
      </pc:sldChg>
      <pc:sldChg chg="addSp delSp modSp mod">
        <pc:chgData name="Aurelien Domont" userId="6da7715ce44349b3" providerId="LiveId" clId="{3DEDA90E-08D5-44D3-BA26-779AE9F902FC}" dt="2021-05-07T06:19:57.493" v="1297" actId="20577"/>
        <pc:sldMkLst>
          <pc:docMk/>
          <pc:sldMk cId="2014281171" sldId="2150"/>
        </pc:sldMkLst>
        <pc:spChg chg="del">
          <ac:chgData name="Aurelien Domont" userId="6da7715ce44349b3" providerId="LiveId" clId="{3DEDA90E-08D5-44D3-BA26-779AE9F902FC}" dt="2021-05-07T06:12:22.813" v="979" actId="478"/>
          <ac:spMkLst>
            <pc:docMk/>
            <pc:sldMk cId="2014281171" sldId="2150"/>
            <ac:spMk id="14" creationId="{493F826D-CCF6-440C-BFA4-C3799A3ED755}"/>
          </ac:spMkLst>
        </pc:spChg>
        <pc:spChg chg="add mod">
          <ac:chgData name="Aurelien Domont" userId="6da7715ce44349b3" providerId="LiveId" clId="{3DEDA90E-08D5-44D3-BA26-779AE9F902FC}" dt="2021-05-07T06:12:31.361" v="982" actId="108"/>
          <ac:spMkLst>
            <pc:docMk/>
            <pc:sldMk cId="2014281171" sldId="2150"/>
            <ac:spMk id="15" creationId="{26E88083-8689-4AB4-A2EE-37619F147826}"/>
          </ac:spMkLst>
        </pc:spChg>
        <pc:spChg chg="mod">
          <ac:chgData name="Aurelien Domont" userId="6da7715ce44349b3" providerId="LiveId" clId="{3DEDA90E-08D5-44D3-BA26-779AE9F902FC}" dt="2021-05-07T06:19:57.493" v="1297" actId="20577"/>
          <ac:spMkLst>
            <pc:docMk/>
            <pc:sldMk cId="2014281171" sldId="2150"/>
            <ac:spMk id="16" creationId="{6C2BB713-9637-4B9B-938F-E9768876782A}"/>
          </ac:spMkLst>
        </pc:spChg>
        <pc:spChg chg="add mod">
          <ac:chgData name="Aurelien Domont" userId="6da7715ce44349b3" providerId="LiveId" clId="{3DEDA90E-08D5-44D3-BA26-779AE9F902FC}" dt="2021-05-07T06:12:27.300" v="981" actId="108"/>
          <ac:spMkLst>
            <pc:docMk/>
            <pc:sldMk cId="2014281171" sldId="2150"/>
            <ac:spMk id="17" creationId="{DDACD0C1-144A-4DF7-AA4C-EF51300209C0}"/>
          </ac:spMkLst>
        </pc:spChg>
        <pc:spChg chg="del">
          <ac:chgData name="Aurelien Domont" userId="6da7715ce44349b3" providerId="LiveId" clId="{3DEDA90E-08D5-44D3-BA26-779AE9F902FC}" dt="2021-05-07T06:12:22.813" v="979" actId="478"/>
          <ac:spMkLst>
            <pc:docMk/>
            <pc:sldMk cId="2014281171" sldId="2150"/>
            <ac:spMk id="18" creationId="{0BCD4164-FFCE-447D-8269-E5891A7FEF0D}"/>
          </ac:spMkLst>
        </pc:spChg>
        <pc:spChg chg="del">
          <ac:chgData name="Aurelien Domont" userId="6da7715ce44349b3" providerId="LiveId" clId="{3DEDA90E-08D5-44D3-BA26-779AE9F902FC}" dt="2021-05-07T06:12:22.813" v="979" actId="478"/>
          <ac:spMkLst>
            <pc:docMk/>
            <pc:sldMk cId="2014281171" sldId="2150"/>
            <ac:spMk id="19" creationId="{554EE1B4-E11D-4B37-9F78-B5B5FA8738AA}"/>
          </ac:spMkLst>
        </pc:spChg>
        <pc:spChg chg="add mod">
          <ac:chgData name="Aurelien Domont" userId="6da7715ce44349b3" providerId="LiveId" clId="{3DEDA90E-08D5-44D3-BA26-779AE9F902FC}" dt="2021-05-07T06:12:23.162" v="980"/>
          <ac:spMkLst>
            <pc:docMk/>
            <pc:sldMk cId="2014281171" sldId="2150"/>
            <ac:spMk id="20" creationId="{A53CFD61-3441-471A-8C52-247012D447B5}"/>
          </ac:spMkLst>
        </pc:spChg>
        <pc:spChg chg="add mod">
          <ac:chgData name="Aurelien Domont" userId="6da7715ce44349b3" providerId="LiveId" clId="{3DEDA90E-08D5-44D3-BA26-779AE9F902FC}" dt="2021-05-07T06:12:23.162" v="980"/>
          <ac:spMkLst>
            <pc:docMk/>
            <pc:sldMk cId="2014281171" sldId="2150"/>
            <ac:spMk id="23" creationId="{8A9EE56F-7681-405E-99E5-058F34F929DD}"/>
          </ac:spMkLst>
        </pc:spChg>
        <pc:spChg chg="add mod">
          <ac:chgData name="Aurelien Domont" userId="6da7715ce44349b3" providerId="LiveId" clId="{3DEDA90E-08D5-44D3-BA26-779AE9F902FC}" dt="2021-05-07T06:12:23.162" v="980"/>
          <ac:spMkLst>
            <pc:docMk/>
            <pc:sldMk cId="2014281171" sldId="2150"/>
            <ac:spMk id="24" creationId="{B0F330B5-6268-47B6-9D73-B8FE76EE7E0C}"/>
          </ac:spMkLst>
        </pc:spChg>
        <pc:spChg chg="add mod">
          <ac:chgData name="Aurelien Domont" userId="6da7715ce44349b3" providerId="LiveId" clId="{3DEDA90E-08D5-44D3-BA26-779AE9F902FC}" dt="2021-05-07T06:12:23.162" v="980"/>
          <ac:spMkLst>
            <pc:docMk/>
            <pc:sldMk cId="2014281171" sldId="2150"/>
            <ac:spMk id="25" creationId="{99F88341-1918-42BF-99AA-E09800DAB49B}"/>
          </ac:spMkLst>
        </pc:spChg>
        <pc:spChg chg="del">
          <ac:chgData name="Aurelien Domont" userId="6da7715ce44349b3" providerId="LiveId" clId="{3DEDA90E-08D5-44D3-BA26-779AE9F902FC}" dt="2021-05-07T06:12:22.813" v="979" actId="478"/>
          <ac:spMkLst>
            <pc:docMk/>
            <pc:sldMk cId="2014281171" sldId="2150"/>
            <ac:spMk id="34" creationId="{E2BDE0B8-90AF-4DE7-A71B-FE78ADE30B55}"/>
          </ac:spMkLst>
        </pc:spChg>
        <pc:spChg chg="del">
          <ac:chgData name="Aurelien Domont" userId="6da7715ce44349b3" providerId="LiveId" clId="{3DEDA90E-08D5-44D3-BA26-779AE9F902FC}" dt="2021-05-07T06:12:22.813" v="979" actId="478"/>
          <ac:spMkLst>
            <pc:docMk/>
            <pc:sldMk cId="2014281171" sldId="2150"/>
            <ac:spMk id="35" creationId="{1BC3B263-81C3-42AD-96C7-45AB7FFD0557}"/>
          </ac:spMkLst>
        </pc:spChg>
        <pc:spChg chg="del">
          <ac:chgData name="Aurelien Domont" userId="6da7715ce44349b3" providerId="LiveId" clId="{3DEDA90E-08D5-44D3-BA26-779AE9F902FC}" dt="2021-05-07T06:12:22.813" v="979" actId="478"/>
          <ac:spMkLst>
            <pc:docMk/>
            <pc:sldMk cId="2014281171" sldId="2150"/>
            <ac:spMk id="36" creationId="{DEACEA99-9E9A-408A-9277-86EFC1C60A69}"/>
          </ac:spMkLst>
        </pc:spChg>
        <pc:cxnChg chg="del">
          <ac:chgData name="Aurelien Domont" userId="6da7715ce44349b3" providerId="LiveId" clId="{3DEDA90E-08D5-44D3-BA26-779AE9F902FC}" dt="2021-05-07T06:12:22.813" v="979" actId="478"/>
          <ac:cxnSpMkLst>
            <pc:docMk/>
            <pc:sldMk cId="2014281171" sldId="2150"/>
            <ac:cxnSpMk id="6" creationId="{91E4FFAB-FF4F-40BB-B034-751A14BFD071}"/>
          </ac:cxnSpMkLst>
        </pc:cxnChg>
        <pc:cxnChg chg="add mod">
          <ac:chgData name="Aurelien Domont" userId="6da7715ce44349b3" providerId="LiveId" clId="{3DEDA90E-08D5-44D3-BA26-779AE9F902FC}" dt="2021-05-07T06:12:23.162" v="980"/>
          <ac:cxnSpMkLst>
            <pc:docMk/>
            <pc:sldMk cId="2014281171" sldId="2150"/>
            <ac:cxnSpMk id="21" creationId="{7CFDCC8B-74DD-4897-B5BB-7F611DBE69A9}"/>
          </ac:cxnSpMkLst>
        </pc:cxnChg>
        <pc:cxnChg chg="add mod">
          <ac:chgData name="Aurelien Domont" userId="6da7715ce44349b3" providerId="LiveId" clId="{3DEDA90E-08D5-44D3-BA26-779AE9F902FC}" dt="2021-05-07T06:12:23.162" v="980"/>
          <ac:cxnSpMkLst>
            <pc:docMk/>
            <pc:sldMk cId="2014281171" sldId="2150"/>
            <ac:cxnSpMk id="22" creationId="{9E238D37-1659-4F42-82AD-0A5E955E6C8D}"/>
          </ac:cxnSpMkLst>
        </pc:cxnChg>
        <pc:cxnChg chg="del">
          <ac:chgData name="Aurelien Domont" userId="6da7715ce44349b3" providerId="LiveId" clId="{3DEDA90E-08D5-44D3-BA26-779AE9F902FC}" dt="2021-05-07T06:12:22.813" v="979" actId="478"/>
          <ac:cxnSpMkLst>
            <pc:docMk/>
            <pc:sldMk cId="2014281171" sldId="2150"/>
            <ac:cxnSpMk id="33" creationId="{3B31C624-A379-4A7C-8695-3B2B901C5E36}"/>
          </ac:cxnSpMkLst>
        </pc:cxnChg>
      </pc:sldChg>
      <pc:sldChg chg="modSp mod">
        <pc:chgData name="Aurelien Domont" userId="6da7715ce44349b3" providerId="LiveId" clId="{3DEDA90E-08D5-44D3-BA26-779AE9F902FC}" dt="2021-05-07T04:10:59.196" v="222" actId="20577"/>
        <pc:sldMkLst>
          <pc:docMk/>
          <pc:sldMk cId="3025566573" sldId="2151"/>
        </pc:sldMkLst>
        <pc:spChg chg="mod">
          <ac:chgData name="Aurelien Domont" userId="6da7715ce44349b3" providerId="LiveId" clId="{3DEDA90E-08D5-44D3-BA26-779AE9F902FC}" dt="2021-05-07T04:09:26.750" v="84" actId="20577"/>
          <ac:spMkLst>
            <pc:docMk/>
            <pc:sldMk cId="3025566573" sldId="2151"/>
            <ac:spMk id="16" creationId="{6C2BB713-9637-4B9B-938F-E9768876782A}"/>
          </ac:spMkLst>
        </pc:spChg>
        <pc:spChg chg="mod">
          <ac:chgData name="Aurelien Domont" userId="6da7715ce44349b3" providerId="LiveId" clId="{3DEDA90E-08D5-44D3-BA26-779AE9F902FC}" dt="2021-05-07T04:10:59.196" v="222" actId="20577"/>
          <ac:spMkLst>
            <pc:docMk/>
            <pc:sldMk cId="3025566573" sldId="2151"/>
            <ac:spMk id="25" creationId="{F53DB822-D6F4-4387-B810-2DDF193FB7A3}"/>
          </ac:spMkLst>
        </pc:spChg>
      </pc:sldChg>
      <pc:sldChg chg="addSp delSp modSp add mod">
        <pc:chgData name="Aurelien Domont" userId="6da7715ce44349b3" providerId="LiveId" clId="{3DEDA90E-08D5-44D3-BA26-779AE9F902FC}" dt="2021-05-07T05:59:02.815" v="531" actId="113"/>
        <pc:sldMkLst>
          <pc:docMk/>
          <pc:sldMk cId="4171692563" sldId="2152"/>
        </pc:sldMkLst>
        <pc:spChg chg="add del mod">
          <ac:chgData name="Aurelien Domont" userId="6da7715ce44349b3" providerId="LiveId" clId="{3DEDA90E-08D5-44D3-BA26-779AE9F902FC}" dt="2021-05-07T04:16:01.141" v="323" actId="478"/>
          <ac:spMkLst>
            <pc:docMk/>
            <pc:sldMk cId="4171692563" sldId="2152"/>
            <ac:spMk id="8" creationId="{B9B57F40-1E6F-490F-BF85-9259DA98BFEF}"/>
          </ac:spMkLst>
        </pc:spChg>
        <pc:spChg chg="add mod">
          <ac:chgData name="Aurelien Domont" userId="6da7715ce44349b3" providerId="LiveId" clId="{3DEDA90E-08D5-44D3-BA26-779AE9F902FC}" dt="2021-05-07T04:29:31.536" v="411" actId="113"/>
          <ac:spMkLst>
            <pc:docMk/>
            <pc:sldMk cId="4171692563" sldId="2152"/>
            <ac:spMk id="10" creationId="{14A41ADD-F906-44BA-826B-D45736FAC590}"/>
          </ac:spMkLst>
        </pc:spChg>
        <pc:spChg chg="mod">
          <ac:chgData name="Aurelien Domont" userId="6da7715ce44349b3" providerId="LiveId" clId="{3DEDA90E-08D5-44D3-BA26-779AE9F902FC}" dt="2021-05-07T04:11:35.764" v="256" actId="20577"/>
          <ac:spMkLst>
            <pc:docMk/>
            <pc:sldMk cId="4171692563" sldId="2152"/>
            <ac:spMk id="16" creationId="{6C2BB713-9637-4B9B-938F-E9768876782A}"/>
          </ac:spMkLst>
        </pc:spChg>
        <pc:spChg chg="del">
          <ac:chgData name="Aurelien Domont" userId="6da7715ce44349b3" providerId="LiveId" clId="{3DEDA90E-08D5-44D3-BA26-779AE9F902FC}" dt="2021-05-07T04:11:49.245" v="257" actId="478"/>
          <ac:spMkLst>
            <pc:docMk/>
            <pc:sldMk cId="4171692563" sldId="2152"/>
            <ac:spMk id="25" creationId="{F53DB822-D6F4-4387-B810-2DDF193FB7A3}"/>
          </ac:spMkLst>
        </pc:spChg>
        <pc:graphicFrameChg chg="add mod modGraphic">
          <ac:chgData name="Aurelien Domont" userId="6da7715ce44349b3" providerId="LiveId" clId="{3DEDA90E-08D5-44D3-BA26-779AE9F902FC}" dt="2021-05-07T05:59:02.815" v="531" actId="113"/>
          <ac:graphicFrameMkLst>
            <pc:docMk/>
            <pc:sldMk cId="4171692563" sldId="2152"/>
            <ac:graphicFrameMk id="6" creationId="{09869EE9-A6B0-4D25-BE5E-47780156B70A}"/>
          </ac:graphicFrameMkLst>
        </pc:graphicFrameChg>
        <pc:cxnChg chg="add del mod">
          <ac:chgData name="Aurelien Domont" userId="6da7715ce44349b3" providerId="LiveId" clId="{3DEDA90E-08D5-44D3-BA26-779AE9F902FC}" dt="2021-05-07T04:16:01.141" v="323" actId="478"/>
          <ac:cxnSpMkLst>
            <pc:docMk/>
            <pc:sldMk cId="4171692563" sldId="2152"/>
            <ac:cxnSpMk id="7" creationId="{A0E3DD2D-0AF4-4F21-AE19-4BEAA443C559}"/>
          </ac:cxnSpMkLst>
        </pc:cxnChg>
        <pc:cxnChg chg="add mod">
          <ac:chgData name="Aurelien Domont" userId="6da7715ce44349b3" providerId="LiveId" clId="{3DEDA90E-08D5-44D3-BA26-779AE9F902FC}" dt="2021-05-07T04:29:22.551" v="406" actId="12788"/>
          <ac:cxnSpMkLst>
            <pc:docMk/>
            <pc:sldMk cId="4171692563" sldId="2152"/>
            <ac:cxnSpMk id="9" creationId="{518DBCEB-D5A2-44B0-9E70-EF96B675177C}"/>
          </ac:cxnSpMkLst>
        </pc:cxnChg>
      </pc:sldChg>
      <pc:sldChg chg="modSp add del mod">
        <pc:chgData name="Aurelien Domont" userId="6da7715ce44349b3" providerId="LiveId" clId="{3DEDA90E-08D5-44D3-BA26-779AE9F902FC}" dt="2021-05-07T04:45:33.069" v="479" actId="47"/>
        <pc:sldMkLst>
          <pc:docMk/>
          <pc:sldMk cId="1591956744" sldId="2153"/>
        </pc:sldMkLst>
        <pc:spChg chg="mod">
          <ac:chgData name="Aurelien Domont" userId="6da7715ce44349b3" providerId="LiveId" clId="{3DEDA90E-08D5-44D3-BA26-779AE9F902FC}" dt="2021-05-07T04:31:24.921" v="420" actId="20577"/>
          <ac:spMkLst>
            <pc:docMk/>
            <pc:sldMk cId="1591956744" sldId="2153"/>
            <ac:spMk id="18" creationId="{0BCD4164-FFCE-447D-8269-E5891A7FEF0D}"/>
          </ac:spMkLst>
        </pc:spChg>
        <pc:spChg chg="mod">
          <ac:chgData name="Aurelien Domont" userId="6da7715ce44349b3" providerId="LiveId" clId="{3DEDA90E-08D5-44D3-BA26-779AE9F902FC}" dt="2021-05-07T04:34:05.817" v="447"/>
          <ac:spMkLst>
            <pc:docMk/>
            <pc:sldMk cId="1591956744" sldId="2153"/>
            <ac:spMk id="35" creationId="{1BC3B263-81C3-42AD-96C7-45AB7FFD0557}"/>
          </ac:spMkLst>
        </pc:spChg>
        <pc:spChg chg="mod">
          <ac:chgData name="Aurelien Domont" userId="6da7715ce44349b3" providerId="LiveId" clId="{3DEDA90E-08D5-44D3-BA26-779AE9F902FC}" dt="2021-05-07T04:35:52.772" v="477" actId="20577"/>
          <ac:spMkLst>
            <pc:docMk/>
            <pc:sldMk cId="1591956744" sldId="2153"/>
            <ac:spMk id="36" creationId="{DEACEA99-9E9A-408A-9277-86EFC1C60A69}"/>
          </ac:spMkLst>
        </pc:spChg>
      </pc:sldChg>
      <pc:sldChg chg="addSp delSp modSp new del mod setBg">
        <pc:chgData name="Aurelien Domont" userId="6da7715ce44349b3" providerId="LiveId" clId="{3DEDA90E-08D5-44D3-BA26-779AE9F902FC}" dt="2021-05-07T04:19:56.553" v="338" actId="47"/>
        <pc:sldMkLst>
          <pc:docMk/>
          <pc:sldMk cId="956157610" sldId="2154"/>
        </pc:sldMkLst>
        <pc:graphicFrameChg chg="add del mod">
          <ac:chgData name="Aurelien Domont" userId="6da7715ce44349b3" providerId="LiveId" clId="{3DEDA90E-08D5-44D3-BA26-779AE9F902FC}" dt="2021-05-07T04:19:28.034" v="335"/>
          <ac:graphicFrameMkLst>
            <pc:docMk/>
            <pc:sldMk cId="956157610" sldId="2154"/>
            <ac:graphicFrameMk id="2" creationId="{6BBFBDDB-06D9-417E-8964-3A19DC8195EB}"/>
          </ac:graphicFrameMkLst>
        </pc:graphicFrameChg>
        <pc:graphicFrameChg chg="add mod">
          <ac:chgData name="Aurelien Domont" userId="6da7715ce44349b3" providerId="LiveId" clId="{3DEDA90E-08D5-44D3-BA26-779AE9F902FC}" dt="2021-05-07T04:19:28.114" v="336"/>
          <ac:graphicFrameMkLst>
            <pc:docMk/>
            <pc:sldMk cId="956157610" sldId="2154"/>
            <ac:graphicFrameMk id="3" creationId="{1E611CFB-CF99-4519-A3D9-6CF0325DE376}"/>
          </ac:graphicFrameMkLst>
        </pc:graphicFrameChg>
        <pc:graphicFrameChg chg="add">
          <ac:chgData name="Aurelien Domont" userId="6da7715ce44349b3" providerId="LiveId" clId="{3DEDA90E-08D5-44D3-BA26-779AE9F902FC}" dt="2021-05-07T04:19:44.185" v="337" actId="26606"/>
          <ac:graphicFrameMkLst>
            <pc:docMk/>
            <pc:sldMk cId="956157610" sldId="2154"/>
            <ac:graphicFrameMk id="5" creationId="{6BBFBDDB-06D9-417E-8964-3A19DC8195EB}"/>
          </ac:graphicFrameMkLst>
        </pc:graphicFrameChg>
      </pc:sldChg>
      <pc:sldChg chg="addSp modSp add del mod">
        <pc:chgData name="Aurelien Domont" userId="6da7715ce44349b3" providerId="LiveId" clId="{3DEDA90E-08D5-44D3-BA26-779AE9F902FC}" dt="2021-05-07T05:59:24.720" v="534" actId="47"/>
        <pc:sldMkLst>
          <pc:docMk/>
          <pc:sldMk cId="1210589192" sldId="2154"/>
        </pc:sldMkLst>
        <pc:spChg chg="add mod">
          <ac:chgData name="Aurelien Domont" userId="6da7715ce44349b3" providerId="LiveId" clId="{3DEDA90E-08D5-44D3-BA26-779AE9F902FC}" dt="2021-05-07T04:29:57.765" v="416" actId="207"/>
          <ac:spMkLst>
            <pc:docMk/>
            <pc:sldMk cId="1210589192" sldId="2154"/>
            <ac:spMk id="2" creationId="{85010260-9F4C-4D79-9B1E-CA82F8D1C387}"/>
          </ac:spMkLst>
        </pc:spChg>
        <pc:spChg chg="mod">
          <ac:chgData name="Aurelien Domont" userId="6da7715ce44349b3" providerId="LiveId" clId="{3DEDA90E-08D5-44D3-BA26-779AE9F902FC}" dt="2021-05-07T04:29:47.303" v="414" actId="20577"/>
          <ac:spMkLst>
            <pc:docMk/>
            <pc:sldMk cId="1210589192" sldId="2154"/>
            <ac:spMk id="16" creationId="{6C2BB713-9637-4B9B-938F-E9768876782A}"/>
          </ac:spMkLst>
        </pc:spChg>
      </pc:sldChg>
      <pc:sldChg chg="modSp add del mod">
        <pc:chgData name="Aurelien Domont" userId="6da7715ce44349b3" providerId="LiveId" clId="{3DEDA90E-08D5-44D3-BA26-779AE9F902FC}" dt="2021-05-07T05:59:24.720" v="534" actId="47"/>
        <pc:sldMkLst>
          <pc:docMk/>
          <pc:sldMk cId="3631299254" sldId="2155"/>
        </pc:sldMkLst>
        <pc:spChg chg="mod">
          <ac:chgData name="Aurelien Domont" userId="6da7715ce44349b3" providerId="LiveId" clId="{3DEDA90E-08D5-44D3-BA26-779AE9F902FC}" dt="2021-05-07T04:30:02.839" v="419" actId="20577"/>
          <ac:spMkLst>
            <pc:docMk/>
            <pc:sldMk cId="3631299254" sldId="2155"/>
            <ac:spMk id="16" creationId="{6C2BB713-9637-4B9B-938F-E9768876782A}"/>
          </ac:spMkLst>
        </pc:spChg>
      </pc:sldChg>
      <pc:sldChg chg="modSp add del mod">
        <pc:chgData name="Aurelien Domont" userId="6da7715ce44349b3" providerId="LiveId" clId="{3DEDA90E-08D5-44D3-BA26-779AE9F902FC}" dt="2021-05-07T06:12:10.034" v="977" actId="47"/>
        <pc:sldMkLst>
          <pc:docMk/>
          <pc:sldMk cId="657245180" sldId="2156"/>
        </pc:sldMkLst>
        <pc:spChg chg="mod">
          <ac:chgData name="Aurelien Domont" userId="6da7715ce44349b3" providerId="LiveId" clId="{3DEDA90E-08D5-44D3-BA26-779AE9F902FC}" dt="2021-05-07T05:46:30.002" v="481" actId="207"/>
          <ac:spMkLst>
            <pc:docMk/>
            <pc:sldMk cId="657245180" sldId="2156"/>
            <ac:spMk id="5" creationId="{91206A1C-4398-49D5-B631-7CF32C406825}"/>
          </ac:spMkLst>
        </pc:spChg>
        <pc:spChg chg="mod">
          <ac:chgData name="Aurelien Domont" userId="6da7715ce44349b3" providerId="LiveId" clId="{3DEDA90E-08D5-44D3-BA26-779AE9F902FC}" dt="2021-05-07T05:49:32.636" v="491" actId="20577"/>
          <ac:spMkLst>
            <pc:docMk/>
            <pc:sldMk cId="657245180" sldId="2156"/>
            <ac:spMk id="19" creationId="{554EE1B4-E11D-4B37-9F78-B5B5FA8738AA}"/>
          </ac:spMkLst>
        </pc:spChg>
        <pc:spChg chg="mod">
          <ac:chgData name="Aurelien Domont" userId="6da7715ce44349b3" providerId="LiveId" clId="{3DEDA90E-08D5-44D3-BA26-779AE9F902FC}" dt="2021-05-07T05:47:57.271" v="483" actId="12"/>
          <ac:spMkLst>
            <pc:docMk/>
            <pc:sldMk cId="657245180" sldId="2156"/>
            <ac:spMk id="35" creationId="{1BC3B263-81C3-42AD-96C7-45AB7FFD0557}"/>
          </ac:spMkLst>
        </pc:spChg>
        <pc:spChg chg="mod">
          <ac:chgData name="Aurelien Domont" userId="6da7715ce44349b3" providerId="LiveId" clId="{3DEDA90E-08D5-44D3-BA26-779AE9F902FC}" dt="2021-05-07T05:48:09.893" v="485" actId="12"/>
          <ac:spMkLst>
            <pc:docMk/>
            <pc:sldMk cId="657245180" sldId="2156"/>
            <ac:spMk id="36" creationId="{DEACEA99-9E9A-408A-9277-86EFC1C60A69}"/>
          </ac:spMkLst>
        </pc:spChg>
      </pc:sldChg>
      <pc:sldChg chg="addSp delSp modSp add mod">
        <pc:chgData name="Aurelien Domont" userId="6da7715ce44349b3" providerId="LiveId" clId="{3DEDA90E-08D5-44D3-BA26-779AE9F902FC}" dt="2021-05-07T06:14:09.220" v="1029" actId="478"/>
        <pc:sldMkLst>
          <pc:docMk/>
          <pc:sldMk cId="3148501183" sldId="2157"/>
        </pc:sldMkLst>
        <pc:spChg chg="del">
          <ac:chgData name="Aurelien Domont" userId="6da7715ce44349b3" providerId="LiveId" clId="{3DEDA90E-08D5-44D3-BA26-779AE9F902FC}" dt="2021-05-07T06:12:13.475" v="978" actId="478"/>
          <ac:spMkLst>
            <pc:docMk/>
            <pc:sldMk cId="3148501183" sldId="2157"/>
            <ac:spMk id="5" creationId="{91206A1C-4398-49D5-B631-7CF32C406825}"/>
          </ac:spMkLst>
        </pc:spChg>
        <pc:spChg chg="add del mod ord">
          <ac:chgData name="Aurelien Domont" userId="6da7715ce44349b3" providerId="LiveId" clId="{3DEDA90E-08D5-44D3-BA26-779AE9F902FC}" dt="2021-05-07T06:14:09.220" v="1029" actId="478"/>
          <ac:spMkLst>
            <pc:docMk/>
            <pc:sldMk cId="3148501183" sldId="2157"/>
            <ac:spMk id="15" creationId="{790F49E4-4FF7-4ED4-AB0E-7689BABA171D}"/>
          </ac:spMkLst>
        </pc:spChg>
        <pc:spChg chg="mod">
          <ac:chgData name="Aurelien Domont" userId="6da7715ce44349b3" providerId="LiveId" clId="{3DEDA90E-08D5-44D3-BA26-779AE9F902FC}" dt="2021-05-07T05:49:42.158" v="507" actId="20577"/>
          <ac:spMkLst>
            <pc:docMk/>
            <pc:sldMk cId="3148501183" sldId="2157"/>
            <ac:spMk id="19" creationId="{554EE1B4-E11D-4B37-9F78-B5B5FA8738AA}"/>
          </ac:spMkLst>
        </pc:spChg>
      </pc:sldChg>
      <pc:sldChg chg="modSp add mod">
        <pc:chgData name="Aurelien Domont" userId="6da7715ce44349b3" providerId="LiveId" clId="{3DEDA90E-08D5-44D3-BA26-779AE9F902FC}" dt="2021-05-07T06:01:29.797" v="551" actId="207"/>
        <pc:sldMkLst>
          <pc:docMk/>
          <pc:sldMk cId="1759510958" sldId="2158"/>
        </pc:sldMkLst>
        <pc:spChg chg="mod">
          <ac:chgData name="Aurelien Domont" userId="6da7715ce44349b3" providerId="LiveId" clId="{3DEDA90E-08D5-44D3-BA26-779AE9F902FC}" dt="2021-05-07T05:57:48.982" v="523" actId="20577"/>
          <ac:spMkLst>
            <pc:docMk/>
            <pc:sldMk cId="1759510958" sldId="2158"/>
            <ac:spMk id="16" creationId="{6C2BB713-9637-4B9B-938F-E9768876782A}"/>
          </ac:spMkLst>
        </pc:spChg>
        <pc:graphicFrameChg chg="mod modGraphic">
          <ac:chgData name="Aurelien Domont" userId="6da7715ce44349b3" providerId="LiveId" clId="{3DEDA90E-08D5-44D3-BA26-779AE9F902FC}" dt="2021-05-07T06:01:29.797" v="551" actId="207"/>
          <ac:graphicFrameMkLst>
            <pc:docMk/>
            <pc:sldMk cId="1759510958" sldId="2158"/>
            <ac:graphicFrameMk id="6" creationId="{09869EE9-A6B0-4D25-BE5E-47780156B70A}"/>
          </ac:graphicFrameMkLst>
        </pc:graphicFrameChg>
      </pc:sldChg>
      <pc:sldChg chg="modSp add mod">
        <pc:chgData name="Aurelien Domont" userId="6da7715ce44349b3" providerId="LiveId" clId="{3DEDA90E-08D5-44D3-BA26-779AE9F902FC}" dt="2021-05-07T06:01:45.700" v="553" actId="207"/>
        <pc:sldMkLst>
          <pc:docMk/>
          <pc:sldMk cId="3299429826" sldId="2159"/>
        </pc:sldMkLst>
        <pc:spChg chg="mod">
          <ac:chgData name="Aurelien Domont" userId="6da7715ce44349b3" providerId="LiveId" clId="{3DEDA90E-08D5-44D3-BA26-779AE9F902FC}" dt="2021-05-07T05:59:29.044" v="538" actId="20577"/>
          <ac:spMkLst>
            <pc:docMk/>
            <pc:sldMk cId="3299429826" sldId="2159"/>
            <ac:spMk id="16" creationId="{6C2BB713-9637-4B9B-938F-E9768876782A}"/>
          </ac:spMkLst>
        </pc:spChg>
        <pc:graphicFrameChg chg="mod modGraphic">
          <ac:chgData name="Aurelien Domont" userId="6da7715ce44349b3" providerId="LiveId" clId="{3DEDA90E-08D5-44D3-BA26-779AE9F902FC}" dt="2021-05-07T06:01:45.700" v="553" actId="207"/>
          <ac:graphicFrameMkLst>
            <pc:docMk/>
            <pc:sldMk cId="3299429826" sldId="2159"/>
            <ac:graphicFrameMk id="6" creationId="{09869EE9-A6B0-4D25-BE5E-47780156B70A}"/>
          </ac:graphicFrameMkLst>
        </pc:graphicFrameChg>
      </pc:sldChg>
      <pc:sldChg chg="addSp delSp modSp add mod">
        <pc:chgData name="Aurelien Domont" userId="6da7715ce44349b3" providerId="LiveId" clId="{3DEDA90E-08D5-44D3-BA26-779AE9F902FC}" dt="2021-05-07T06:11:24.224" v="970"/>
        <pc:sldMkLst>
          <pc:docMk/>
          <pc:sldMk cId="2826679999" sldId="2160"/>
        </pc:sldMkLst>
        <pc:spChg chg="mod">
          <ac:chgData name="Aurelien Domont" userId="6da7715ce44349b3" providerId="LiveId" clId="{3DEDA90E-08D5-44D3-BA26-779AE9F902FC}" dt="2021-05-07T06:08:32.331" v="850"/>
          <ac:spMkLst>
            <pc:docMk/>
            <pc:sldMk cId="2826679999" sldId="2160"/>
            <ac:spMk id="16" creationId="{6C2BB713-9637-4B9B-938F-E9768876782A}"/>
          </ac:spMkLst>
        </pc:spChg>
        <pc:spChg chg="mod">
          <ac:chgData name="Aurelien Domont" userId="6da7715ce44349b3" providerId="LiveId" clId="{3DEDA90E-08D5-44D3-BA26-779AE9F902FC}" dt="2021-05-07T06:11:24.224" v="970"/>
          <ac:spMkLst>
            <pc:docMk/>
            <pc:sldMk cId="2826679999" sldId="2160"/>
            <ac:spMk id="29" creationId="{E7057E1C-0379-4BF8-AFA9-1ADE9F123A50}"/>
          </ac:spMkLst>
        </pc:spChg>
        <pc:picChg chg="add mod">
          <ac:chgData name="Aurelien Domont" userId="6da7715ce44349b3" providerId="LiveId" clId="{3DEDA90E-08D5-44D3-BA26-779AE9F902FC}" dt="2021-05-07T06:08:37.743" v="852"/>
          <ac:picMkLst>
            <pc:docMk/>
            <pc:sldMk cId="2826679999" sldId="2160"/>
            <ac:picMk id="7" creationId="{E5508304-CC1F-4925-8FF7-89D538CC0CCD}"/>
          </ac:picMkLst>
        </pc:picChg>
        <pc:picChg chg="del">
          <ac:chgData name="Aurelien Domont" userId="6da7715ce44349b3" providerId="LiveId" clId="{3DEDA90E-08D5-44D3-BA26-779AE9F902FC}" dt="2021-05-07T06:08:37.360" v="851" actId="478"/>
          <ac:picMkLst>
            <pc:docMk/>
            <pc:sldMk cId="2826679999" sldId="2160"/>
            <ac:picMk id="23" creationId="{D30A2405-B273-4908-B54B-4EF6F7DF01FD}"/>
          </ac:picMkLst>
        </pc:picChg>
      </pc:sldChg>
      <pc:sldChg chg="addSp delSp modSp add mod">
        <pc:chgData name="Aurelien Domont" userId="6da7715ce44349b3" providerId="LiveId" clId="{3DEDA90E-08D5-44D3-BA26-779AE9F902FC}" dt="2021-05-07T06:11:27.275" v="972"/>
        <pc:sldMkLst>
          <pc:docMk/>
          <pc:sldMk cId="1178320559" sldId="2161"/>
        </pc:sldMkLst>
        <pc:spChg chg="mod">
          <ac:chgData name="Aurelien Domont" userId="6da7715ce44349b3" providerId="LiveId" clId="{3DEDA90E-08D5-44D3-BA26-779AE9F902FC}" dt="2021-05-07T06:09:33.639" v="858"/>
          <ac:spMkLst>
            <pc:docMk/>
            <pc:sldMk cId="1178320559" sldId="2161"/>
            <ac:spMk id="16" creationId="{6C2BB713-9637-4B9B-938F-E9768876782A}"/>
          </ac:spMkLst>
        </pc:spChg>
        <pc:spChg chg="mod">
          <ac:chgData name="Aurelien Domont" userId="6da7715ce44349b3" providerId="LiveId" clId="{3DEDA90E-08D5-44D3-BA26-779AE9F902FC}" dt="2021-05-07T06:11:27.275" v="972"/>
          <ac:spMkLst>
            <pc:docMk/>
            <pc:sldMk cId="1178320559" sldId="2161"/>
            <ac:spMk id="29" creationId="{E7057E1C-0379-4BF8-AFA9-1ADE9F123A50}"/>
          </ac:spMkLst>
        </pc:spChg>
        <pc:picChg chg="del">
          <ac:chgData name="Aurelien Domont" userId="6da7715ce44349b3" providerId="LiveId" clId="{3DEDA90E-08D5-44D3-BA26-779AE9F902FC}" dt="2021-05-07T06:09:38.120" v="859" actId="478"/>
          <ac:picMkLst>
            <pc:docMk/>
            <pc:sldMk cId="1178320559" sldId="2161"/>
            <ac:picMk id="7" creationId="{E5508304-CC1F-4925-8FF7-89D538CC0CCD}"/>
          </ac:picMkLst>
        </pc:picChg>
        <pc:picChg chg="add mod">
          <ac:chgData name="Aurelien Domont" userId="6da7715ce44349b3" providerId="LiveId" clId="{3DEDA90E-08D5-44D3-BA26-779AE9F902FC}" dt="2021-05-07T06:09:38.418" v="860"/>
          <ac:picMkLst>
            <pc:docMk/>
            <pc:sldMk cId="1178320559" sldId="2161"/>
            <ac:picMk id="8" creationId="{3DD6D422-1748-4B42-9C2F-D4B02A6C326D}"/>
          </ac:picMkLst>
        </pc:picChg>
      </pc:sldChg>
      <pc:sldChg chg="add del">
        <pc:chgData name="Aurelien Domont" userId="6da7715ce44349b3" providerId="LiveId" clId="{3DEDA90E-08D5-44D3-BA26-779AE9F902FC}" dt="2021-05-07T06:09:20.974" v="856" actId="47"/>
        <pc:sldMkLst>
          <pc:docMk/>
          <pc:sldMk cId="2258508891" sldId="2161"/>
        </pc:sldMkLst>
      </pc:sldChg>
      <pc:sldChg chg="add del">
        <pc:chgData name="Aurelien Domont" userId="6da7715ce44349b3" providerId="LiveId" clId="{3DEDA90E-08D5-44D3-BA26-779AE9F902FC}" dt="2021-05-07T06:09:20.974" v="856" actId="47"/>
        <pc:sldMkLst>
          <pc:docMk/>
          <pc:sldMk cId="783249944" sldId="2162"/>
        </pc:sldMkLst>
      </pc:sldChg>
      <pc:sldChg chg="addSp delSp modSp add mod">
        <pc:chgData name="Aurelien Domont" userId="6da7715ce44349b3" providerId="LiveId" clId="{3DEDA90E-08D5-44D3-BA26-779AE9F902FC}" dt="2021-05-07T06:11:30.484" v="974"/>
        <pc:sldMkLst>
          <pc:docMk/>
          <pc:sldMk cId="3919871392" sldId="2162"/>
        </pc:sldMkLst>
        <pc:spChg chg="mod">
          <ac:chgData name="Aurelien Domont" userId="6da7715ce44349b3" providerId="LiveId" clId="{3DEDA90E-08D5-44D3-BA26-779AE9F902FC}" dt="2021-05-07T06:10:09.576" v="862"/>
          <ac:spMkLst>
            <pc:docMk/>
            <pc:sldMk cId="3919871392" sldId="2162"/>
            <ac:spMk id="16" creationId="{6C2BB713-9637-4B9B-938F-E9768876782A}"/>
          </ac:spMkLst>
        </pc:spChg>
        <pc:spChg chg="mod">
          <ac:chgData name="Aurelien Domont" userId="6da7715ce44349b3" providerId="LiveId" clId="{3DEDA90E-08D5-44D3-BA26-779AE9F902FC}" dt="2021-05-07T06:11:30.484" v="974"/>
          <ac:spMkLst>
            <pc:docMk/>
            <pc:sldMk cId="3919871392" sldId="2162"/>
            <ac:spMk id="29" creationId="{E7057E1C-0379-4BF8-AFA9-1ADE9F123A50}"/>
          </ac:spMkLst>
        </pc:spChg>
        <pc:picChg chg="add mod">
          <ac:chgData name="Aurelien Domont" userId="6da7715ce44349b3" providerId="LiveId" clId="{3DEDA90E-08D5-44D3-BA26-779AE9F902FC}" dt="2021-05-07T06:10:15.234" v="864"/>
          <ac:picMkLst>
            <pc:docMk/>
            <pc:sldMk cId="3919871392" sldId="2162"/>
            <ac:picMk id="7" creationId="{C4068818-E93E-4DF8-9F54-BB57DBE1F9C4}"/>
          </ac:picMkLst>
        </pc:picChg>
        <pc:picChg chg="del">
          <ac:chgData name="Aurelien Domont" userId="6da7715ce44349b3" providerId="LiveId" clId="{3DEDA90E-08D5-44D3-BA26-779AE9F902FC}" dt="2021-05-07T06:10:14.865" v="863" actId="478"/>
          <ac:picMkLst>
            <pc:docMk/>
            <pc:sldMk cId="3919871392" sldId="2162"/>
            <ac:picMk id="8" creationId="{3DD6D422-1748-4B42-9C2F-D4B02A6C326D}"/>
          </ac:picMkLst>
        </pc:picChg>
      </pc:sldChg>
      <pc:sldChg chg="add del">
        <pc:chgData name="Aurelien Domont" userId="6da7715ce44349b3" providerId="LiveId" clId="{3DEDA90E-08D5-44D3-BA26-779AE9F902FC}" dt="2021-05-07T06:09:20.974" v="856" actId="47"/>
        <pc:sldMkLst>
          <pc:docMk/>
          <pc:sldMk cId="13038259" sldId="2163"/>
        </pc:sldMkLst>
      </pc:sldChg>
      <pc:sldChg chg="addSp delSp modSp add mod">
        <pc:chgData name="Aurelien Domont" userId="6da7715ce44349b3" providerId="LiveId" clId="{3DEDA90E-08D5-44D3-BA26-779AE9F902FC}" dt="2021-05-07T06:11:33.240" v="976"/>
        <pc:sldMkLst>
          <pc:docMk/>
          <pc:sldMk cId="3706676124" sldId="2163"/>
        </pc:sldMkLst>
        <pc:spChg chg="mod">
          <ac:chgData name="Aurelien Domont" userId="6da7715ce44349b3" providerId="LiveId" clId="{3DEDA90E-08D5-44D3-BA26-779AE9F902FC}" dt="2021-05-07T06:10:28.322" v="866"/>
          <ac:spMkLst>
            <pc:docMk/>
            <pc:sldMk cId="3706676124" sldId="2163"/>
            <ac:spMk id="16" creationId="{6C2BB713-9637-4B9B-938F-E9768876782A}"/>
          </ac:spMkLst>
        </pc:spChg>
        <pc:spChg chg="mod">
          <ac:chgData name="Aurelien Domont" userId="6da7715ce44349b3" providerId="LiveId" clId="{3DEDA90E-08D5-44D3-BA26-779AE9F902FC}" dt="2021-05-07T06:11:33.240" v="976"/>
          <ac:spMkLst>
            <pc:docMk/>
            <pc:sldMk cId="3706676124" sldId="2163"/>
            <ac:spMk id="29" creationId="{E7057E1C-0379-4BF8-AFA9-1ADE9F123A50}"/>
          </ac:spMkLst>
        </pc:spChg>
        <pc:picChg chg="del">
          <ac:chgData name="Aurelien Domont" userId="6da7715ce44349b3" providerId="LiveId" clId="{3DEDA90E-08D5-44D3-BA26-779AE9F902FC}" dt="2021-05-07T06:10:31.965" v="867" actId="478"/>
          <ac:picMkLst>
            <pc:docMk/>
            <pc:sldMk cId="3706676124" sldId="2163"/>
            <ac:picMk id="7" creationId="{C4068818-E93E-4DF8-9F54-BB57DBE1F9C4}"/>
          </ac:picMkLst>
        </pc:picChg>
        <pc:picChg chg="add mod">
          <ac:chgData name="Aurelien Domont" userId="6da7715ce44349b3" providerId="LiveId" clId="{3DEDA90E-08D5-44D3-BA26-779AE9F902FC}" dt="2021-05-07T06:10:32.266" v="868"/>
          <ac:picMkLst>
            <pc:docMk/>
            <pc:sldMk cId="3706676124" sldId="2163"/>
            <ac:picMk id="8" creationId="{C4046ECF-3147-4F7E-892E-8EE006A013A2}"/>
          </ac:picMkLst>
        </pc:picChg>
      </pc:sldChg>
      <pc:sldChg chg="modSp add mod">
        <pc:chgData name="Aurelien Domont" userId="6da7715ce44349b3" providerId="LiveId" clId="{3DEDA90E-08D5-44D3-BA26-779AE9F902FC}" dt="2021-05-07T06:16:24.475" v="1158" actId="20577"/>
        <pc:sldMkLst>
          <pc:docMk/>
          <pc:sldMk cId="4083923273" sldId="2164"/>
        </pc:sldMkLst>
        <pc:spChg chg="mod">
          <ac:chgData name="Aurelien Domont" userId="6da7715ce44349b3" providerId="LiveId" clId="{3DEDA90E-08D5-44D3-BA26-779AE9F902FC}" dt="2021-05-07T06:16:24.475" v="1158" actId="20577"/>
          <ac:spMkLst>
            <pc:docMk/>
            <pc:sldMk cId="4083923273" sldId="2164"/>
            <ac:spMk id="16" creationId="{6C2BB713-9637-4B9B-938F-E9768876782A}"/>
          </ac:spMkLst>
        </pc:spChg>
      </pc:sldChg>
      <pc:sldChg chg="modSp add mod">
        <pc:chgData name="Aurelien Domont" userId="6da7715ce44349b3" providerId="LiveId" clId="{3DEDA90E-08D5-44D3-BA26-779AE9F902FC}" dt="2021-05-07T06:16:54.919" v="1189" actId="1035"/>
        <pc:sldMkLst>
          <pc:docMk/>
          <pc:sldMk cId="2755439003" sldId="2165"/>
        </pc:sldMkLst>
        <pc:spChg chg="mod">
          <ac:chgData name="Aurelien Domont" userId="6da7715ce44349b3" providerId="LiveId" clId="{3DEDA90E-08D5-44D3-BA26-779AE9F902FC}" dt="2021-05-07T06:16:54.919" v="1189" actId="1035"/>
          <ac:spMkLst>
            <pc:docMk/>
            <pc:sldMk cId="2755439003" sldId="2165"/>
            <ac:spMk id="15" creationId="{790F49E4-4FF7-4ED4-AB0E-7689BABA171D}"/>
          </ac:spMkLst>
        </pc:spChg>
        <pc:spChg chg="mod">
          <ac:chgData name="Aurelien Domont" userId="6da7715ce44349b3" providerId="LiveId" clId="{3DEDA90E-08D5-44D3-BA26-779AE9F902FC}" dt="2021-05-07T06:16:42.389" v="1165" actId="20577"/>
          <ac:spMkLst>
            <pc:docMk/>
            <pc:sldMk cId="2755439003" sldId="2165"/>
            <ac:spMk id="16" creationId="{6C2BB713-9637-4B9B-938F-E9768876782A}"/>
          </ac:spMkLst>
        </pc:spChg>
      </pc:sldChg>
      <pc:sldChg chg="modSp add mod">
        <pc:chgData name="Aurelien Domont" userId="6da7715ce44349b3" providerId="LiveId" clId="{3DEDA90E-08D5-44D3-BA26-779AE9F902FC}" dt="2021-05-07T06:17:29.255" v="1227" actId="20577"/>
        <pc:sldMkLst>
          <pc:docMk/>
          <pc:sldMk cId="1411304364" sldId="2166"/>
        </pc:sldMkLst>
        <pc:spChg chg="mod">
          <ac:chgData name="Aurelien Domont" userId="6da7715ce44349b3" providerId="LiveId" clId="{3DEDA90E-08D5-44D3-BA26-779AE9F902FC}" dt="2021-05-07T06:17:22.144" v="1220" actId="14100"/>
          <ac:spMkLst>
            <pc:docMk/>
            <pc:sldMk cId="1411304364" sldId="2166"/>
            <ac:spMk id="15" creationId="{790F49E4-4FF7-4ED4-AB0E-7689BABA171D}"/>
          </ac:spMkLst>
        </pc:spChg>
        <pc:spChg chg="mod">
          <ac:chgData name="Aurelien Domont" userId="6da7715ce44349b3" providerId="LiveId" clId="{3DEDA90E-08D5-44D3-BA26-779AE9F902FC}" dt="2021-05-07T06:17:29.255" v="1227" actId="20577"/>
          <ac:spMkLst>
            <pc:docMk/>
            <pc:sldMk cId="1411304364" sldId="2166"/>
            <ac:spMk id="16" creationId="{6C2BB713-9637-4B9B-938F-E9768876782A}"/>
          </ac:spMkLst>
        </pc:spChg>
      </pc:sldChg>
      <pc:sldChg chg="modSp add mod ord">
        <pc:chgData name="Aurelien Domont" userId="6da7715ce44349b3" providerId="LiveId" clId="{3DEDA90E-08D5-44D3-BA26-779AE9F902FC}" dt="2021-05-07T06:18:08.090" v="1268" actId="20577"/>
        <pc:sldMkLst>
          <pc:docMk/>
          <pc:sldMk cId="3447837117" sldId="2167"/>
        </pc:sldMkLst>
        <pc:spChg chg="mod">
          <ac:chgData name="Aurelien Domont" userId="6da7715ce44349b3" providerId="LiveId" clId="{3DEDA90E-08D5-44D3-BA26-779AE9F902FC}" dt="2021-05-07T06:17:56.942" v="1250" actId="14100"/>
          <ac:spMkLst>
            <pc:docMk/>
            <pc:sldMk cId="3447837117" sldId="2167"/>
            <ac:spMk id="15" creationId="{790F49E4-4FF7-4ED4-AB0E-7689BABA171D}"/>
          </ac:spMkLst>
        </pc:spChg>
        <pc:spChg chg="mod">
          <ac:chgData name="Aurelien Domont" userId="6da7715ce44349b3" providerId="LiveId" clId="{3DEDA90E-08D5-44D3-BA26-779AE9F902FC}" dt="2021-05-07T06:18:08.090" v="1268" actId="20577"/>
          <ac:spMkLst>
            <pc:docMk/>
            <pc:sldMk cId="3447837117" sldId="2167"/>
            <ac:spMk id="16" creationId="{6C2BB713-9637-4B9B-938F-E9768876782A}"/>
          </ac:spMkLst>
        </pc:spChg>
      </pc:sldChg>
      <pc:sldMasterChg chg="delSldLayout">
        <pc:chgData name="Aurelien Domont" userId="6da7715ce44349b3" providerId="LiveId" clId="{3DEDA90E-08D5-44D3-BA26-779AE9F902FC}" dt="2021-05-07T04:19:56.553" v="338" actId="47"/>
        <pc:sldMasterMkLst>
          <pc:docMk/>
          <pc:sldMasterMk cId="630589790" sldId="2147483664"/>
        </pc:sldMasterMkLst>
        <pc:sldLayoutChg chg="del">
          <pc:chgData name="Aurelien Domont" userId="6da7715ce44349b3" providerId="LiveId" clId="{3DEDA90E-08D5-44D3-BA26-779AE9F902FC}" dt="2021-05-07T04:19:56.553" v="338" actId="47"/>
          <pc:sldLayoutMkLst>
            <pc:docMk/>
            <pc:sldMasterMk cId="630589790" sldId="2147483664"/>
            <pc:sldLayoutMk cId="479443308" sldId="2147483673"/>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8908-4C2E-9A45-A69F04B04588}"/>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8908-4C2E-9A45-A69F04B04588}"/>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8908-4C2E-9A45-A69F04B04588}"/>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col"/>
        <c:grouping val="stacked"/>
        <c:varyColors val="0"/>
        <c:ser>
          <c:idx val="0"/>
          <c:order val="0"/>
          <c:tx>
            <c:strRef>
              <c:f>Sheet1!$A$2</c:f>
              <c:strCache>
                <c:ptCount val="1"/>
                <c:pt idx="0">
                  <c:v>Invisible dataset</c:v>
                </c:pt>
              </c:strCache>
            </c:strRef>
          </c:tx>
          <c:spPr>
            <a:solidFill>
              <a:srgbClr val="F7F7F7"/>
            </a:solidFill>
            <a:ln>
              <a:solidFill>
                <a:schemeClr val="bg1"/>
              </a:solidFill>
            </a:ln>
          </c:spPr>
          <c:invertIfNegative val="0"/>
          <c:dLbls>
            <c:delete val="1"/>
          </c:dLbls>
          <c:cat>
            <c:strRef>
              <c:f>Sheet1!$B$1:$G$1</c:f>
              <c:strCache>
                <c:ptCount val="6"/>
                <c:pt idx="0">
                  <c:v>Total Synergies</c:v>
                </c:pt>
                <c:pt idx="1">
                  <c:v>IT</c:v>
                </c:pt>
                <c:pt idx="2">
                  <c:v>R&amp;D</c:v>
                </c:pt>
                <c:pt idx="3">
                  <c:v>Procurement</c:v>
                </c:pt>
                <c:pt idx="4">
                  <c:v>Production</c:v>
                </c:pt>
                <c:pt idx="5">
                  <c:v>Sales &amp; Marketing</c:v>
                </c:pt>
              </c:strCache>
            </c:strRef>
          </c:cat>
          <c:val>
            <c:numRef>
              <c:f>Sheet1!$B$2:$G$2</c:f>
              <c:numCache>
                <c:formatCode>General</c:formatCode>
                <c:ptCount val="6"/>
                <c:pt idx="0">
                  <c:v>0</c:v>
                </c:pt>
                <c:pt idx="1">
                  <c:v>120</c:v>
                </c:pt>
                <c:pt idx="2">
                  <c:v>90</c:v>
                </c:pt>
                <c:pt idx="3">
                  <c:v>80</c:v>
                </c:pt>
                <c:pt idx="4">
                  <c:v>40</c:v>
                </c:pt>
                <c:pt idx="5">
                  <c:v>0</c:v>
                </c:pt>
              </c:numCache>
            </c:numRef>
          </c:val>
          <c:extLst>
            <c:ext xmlns:c16="http://schemas.microsoft.com/office/drawing/2014/chart" uri="{C3380CC4-5D6E-409C-BE32-E72D297353CC}">
              <c16:uniqueId val="{00000000-8B4E-4D69-ADBC-1D0824FEB3B1}"/>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3:$G$3</c:f>
              <c:numCache>
                <c:formatCode>General</c:formatCode>
                <c:ptCount val="6"/>
                <c:pt idx="1">
                  <c:v>20</c:v>
                </c:pt>
                <c:pt idx="2">
                  <c:v>30</c:v>
                </c:pt>
                <c:pt idx="3">
                  <c:v>10</c:v>
                </c:pt>
                <c:pt idx="4">
                  <c:v>40</c:v>
                </c:pt>
                <c:pt idx="5">
                  <c:v>40</c:v>
                </c:pt>
              </c:numCache>
            </c:numRef>
          </c:val>
          <c:extLst>
            <c:ext xmlns:c16="http://schemas.microsoft.com/office/drawing/2014/chart" uri="{C3380CC4-5D6E-409C-BE32-E72D297353CC}">
              <c16:uniqueId val="{00000001-8B4E-4D69-ADBC-1D0824FEB3B1}"/>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4:$G$4</c:f>
              <c:numCache>
                <c:formatCode>General</c:formatCode>
                <c:ptCount val="6"/>
                <c:pt idx="0">
                  <c:v>140</c:v>
                </c:pt>
              </c:numCache>
            </c:numRef>
          </c:val>
          <c:extLst>
            <c:ext xmlns:c16="http://schemas.microsoft.com/office/drawing/2014/chart" uri="{C3380CC4-5D6E-409C-BE32-E72D297353CC}">
              <c16:uniqueId val="{00000002-8B4E-4D69-ADBC-1D0824FEB3B1}"/>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sz="1200" b="1">
                <a:solidFill>
                  <a:schemeClr val="tx2"/>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26832"/>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14/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1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368581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2023124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1008522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3743307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34335388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3207115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545852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32804927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335986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3610468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222786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3422412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3456355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32393439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3502607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2732962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29098086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15812816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7626181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3294144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4046699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897292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16530873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24822582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41277096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5137716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30128668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29275009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33742138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27913134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4092158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11023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39439254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39325749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18423551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11274853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23199404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25014905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11117076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34228100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15394110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2507267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1303787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8296305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203611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073607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908108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87.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31.xml"/><Relationship Id="rId5" Type="http://schemas.openxmlformats.org/officeDocument/2006/relationships/slideLayout" Target="../slideLayouts/slideLayout19.xml"/><Relationship Id="rId10" Type="http://schemas.openxmlformats.org/officeDocument/2006/relationships/tags" Target="../tags/tag30.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6.xml"/><Relationship Id="rId5" Type="http://schemas.openxmlformats.org/officeDocument/2006/relationships/slideLayout" Target="../slideLayouts/slideLayout27.xml"/><Relationship Id="rId10" Type="http://schemas.openxmlformats.org/officeDocument/2006/relationships/tags" Target="../tags/tag45.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5.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1.xml"/><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44.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6.xml"/><Relationship Id="rId5" Type="http://schemas.openxmlformats.org/officeDocument/2006/relationships/slideLayout" Target="../slideLayouts/slideLayout43.xml"/><Relationship Id="rId10" Type="http://schemas.openxmlformats.org/officeDocument/2006/relationships/tags" Target="../tags/tag75.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5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91.xml"/><Relationship Id="rId5" Type="http://schemas.openxmlformats.org/officeDocument/2006/relationships/slideLayout" Target="../slideLayouts/slideLayout51.xml"/><Relationship Id="rId10" Type="http://schemas.openxmlformats.org/officeDocument/2006/relationships/tags" Target="../tags/tag90.x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55.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95.xml"/><Relationship Id="rId5" Type="http://schemas.openxmlformats.org/officeDocument/2006/relationships/slideLayout" Target="../slideLayouts/slideLayout59.xml"/><Relationship Id="rId10" Type="http://schemas.openxmlformats.org/officeDocument/2006/relationships/tags" Target="../tags/tag94.x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5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9.xml"/><Relationship Id="rId5" Type="http://schemas.openxmlformats.org/officeDocument/2006/relationships/slideLayout" Target="../slideLayouts/slideLayout67.xml"/><Relationship Id="rId10" Type="http://schemas.openxmlformats.org/officeDocument/2006/relationships/tags" Target="../tags/tag98.x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1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20.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2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image" Target="../media/image1.emf"/><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oleObject" Target="../embeddings/oleObject70.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notesSlide" Target="../notesSlides/notesSlide21.xml"/><Relationship Id="rId5" Type="http://schemas.openxmlformats.org/officeDocument/2006/relationships/tags" Target="../tags/tag128.xml"/><Relationship Id="rId10" Type="http://schemas.openxmlformats.org/officeDocument/2006/relationships/slideLayout" Target="../slideLayouts/slideLayout3.xml"/><Relationship Id="rId4" Type="http://schemas.openxmlformats.org/officeDocument/2006/relationships/tags" Target="../tags/tag127.xml"/><Relationship Id="rId9" Type="http://schemas.openxmlformats.org/officeDocument/2006/relationships/tags" Target="../tags/tag13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6.xml"/><Relationship Id="rId7" Type="http://schemas.openxmlformats.org/officeDocument/2006/relationships/image" Target="../media/image11.svg"/><Relationship Id="rId2" Type="http://schemas.openxmlformats.org/officeDocument/2006/relationships/slideLayout" Target="../slideLayouts/slideLayout3.xml"/><Relationship Id="rId1" Type="http://schemas.openxmlformats.org/officeDocument/2006/relationships/tags" Target="../tags/tag137.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74.bin"/><Relationship Id="rId9" Type="http://schemas.openxmlformats.org/officeDocument/2006/relationships/image" Target="../media/image13.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2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8.xml"/><Relationship Id="rId7" Type="http://schemas.openxmlformats.org/officeDocument/2006/relationships/image" Target="../media/image17.svg"/><Relationship Id="rId2" Type="http://schemas.openxmlformats.org/officeDocument/2006/relationships/slideLayout" Target="../slideLayouts/slideLayout3.xml"/><Relationship Id="rId1" Type="http://schemas.openxmlformats.org/officeDocument/2006/relationships/tags" Target="../tags/tag139.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76.bin"/><Relationship Id="rId9" Type="http://schemas.openxmlformats.org/officeDocument/2006/relationships/image" Target="../media/image19.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143.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144.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14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notesSlide" Target="../notesSlides/notesSlide37.xml"/><Relationship Id="rId7" Type="http://schemas.openxmlformats.org/officeDocument/2006/relationships/image" Target="../media/image25.svg"/><Relationship Id="rId12"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148.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1.emf"/><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oleObject" Target="../embeddings/oleObject82.bin"/><Relationship Id="rId9" Type="http://schemas.openxmlformats.org/officeDocument/2006/relationships/image" Target="../media/image27.svg"/><Relationship Id="rId14" Type="http://schemas.openxmlformats.org/officeDocument/2006/relationships/image" Target="../media/image3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35.svg"/><Relationship Id="rId2" Type="http://schemas.openxmlformats.org/officeDocument/2006/relationships/slideLayout" Target="../slideLayouts/slideLayout3.xml"/><Relationship Id="rId1" Type="http://schemas.openxmlformats.org/officeDocument/2006/relationships/tags" Target="../tags/tag14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150.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0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39.svg"/><Relationship Id="rId2" Type="http://schemas.openxmlformats.org/officeDocument/2006/relationships/slideLayout" Target="../slideLayouts/slideLayout3.xml"/><Relationship Id="rId1" Type="http://schemas.openxmlformats.org/officeDocument/2006/relationships/tags" Target="../tags/tag15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1.svg"/><Relationship Id="rId2" Type="http://schemas.openxmlformats.org/officeDocument/2006/relationships/slideLayout" Target="../slideLayouts/slideLayout3.xml"/><Relationship Id="rId1" Type="http://schemas.openxmlformats.org/officeDocument/2006/relationships/tags" Target="../tags/tag152.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41.svg"/><Relationship Id="rId2" Type="http://schemas.openxmlformats.org/officeDocument/2006/relationships/slideLayout" Target="../slideLayouts/slideLayout3.xml"/><Relationship Id="rId1" Type="http://schemas.openxmlformats.org/officeDocument/2006/relationships/tags" Target="../tags/tag15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43.svg"/><Relationship Id="rId2" Type="http://schemas.openxmlformats.org/officeDocument/2006/relationships/slideLayout" Target="../slideLayouts/slideLayout3.xml"/><Relationship Id="rId1" Type="http://schemas.openxmlformats.org/officeDocument/2006/relationships/tags" Target="../tags/tag154.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8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85.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85.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8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44.emf"/><Relationship Id="rId5" Type="http://schemas.openxmlformats.org/officeDocument/2006/relationships/image" Target="../media/image1.emf"/><Relationship Id="rId4" Type="http://schemas.openxmlformats.org/officeDocument/2006/relationships/oleObject" Target="../embeddings/oleObject8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53.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oleObject" Target="../embeddings/oleObject87.bin"/><Relationship Id="rId5" Type="http://schemas.openxmlformats.org/officeDocument/2006/relationships/tags" Target="../tags/tag173.xml"/><Relationship Id="rId10" Type="http://schemas.openxmlformats.org/officeDocument/2006/relationships/notesSlide" Target="../notesSlides/notesSlide48.xml"/><Relationship Id="rId4" Type="http://schemas.openxmlformats.org/officeDocument/2006/relationships/tags" Target="../tags/tag172.xml"/><Relationship Id="rId9"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1.emf"/><Relationship Id="rId5" Type="http://schemas.openxmlformats.org/officeDocument/2006/relationships/tags" Target="../tags/tag181.xml"/><Relationship Id="rId10" Type="http://schemas.openxmlformats.org/officeDocument/2006/relationships/oleObject" Target="../embeddings/oleObject88.bin"/><Relationship Id="rId4" Type="http://schemas.openxmlformats.org/officeDocument/2006/relationships/tags" Target="../tags/tag180.xml"/><Relationship Id="rId9" Type="http://schemas.openxmlformats.org/officeDocument/2006/relationships/notesSlide" Target="../notesSlides/notesSlide49.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23.svg"/><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image" Target="../media/image22.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1.emf"/><Relationship Id="rId5" Type="http://schemas.openxmlformats.org/officeDocument/2006/relationships/tags" Target="../tags/tag188.xml"/><Relationship Id="rId10" Type="http://schemas.openxmlformats.org/officeDocument/2006/relationships/oleObject" Target="../embeddings/oleObject89.bin"/><Relationship Id="rId4" Type="http://schemas.openxmlformats.org/officeDocument/2006/relationships/tags" Target="../tags/tag187.xml"/><Relationship Id="rId9" Type="http://schemas.openxmlformats.org/officeDocument/2006/relationships/notesSlide" Target="../notesSlides/notesSlide5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7.xml.rels><?xml version="1.0" encoding="UTF-8" standalone="yes"?>
<Relationships xmlns="http://schemas.openxmlformats.org/package/2006/relationships"><Relationship Id="rId13" Type="http://schemas.openxmlformats.org/officeDocument/2006/relationships/image" Target="../media/image51.svg"/><Relationship Id="rId18" Type="http://schemas.openxmlformats.org/officeDocument/2006/relationships/hyperlink" Target="https://www.slidebooks.com/collections/financial-templates/products/financial-planning-and-analysis-toolkit?variant=33123334815826" TargetMode="External"/><Relationship Id="rId26" Type="http://schemas.openxmlformats.org/officeDocument/2006/relationships/hyperlink" Target="https://www.slidebooks.com/collections/mergers-and-acquisitions/products/mergers-and-acquisitions-toolkit?variant=33123481157714" TargetMode="External"/><Relationship Id="rId21" Type="http://schemas.openxmlformats.org/officeDocument/2006/relationships/image" Target="../media/image52.png"/><Relationship Id="rId34" Type="http://schemas.openxmlformats.org/officeDocument/2006/relationships/hyperlink" Target="https://www.slidebooks.com/products/entrepreneurship-toolkit?variant=33123677569106" TargetMode="External"/><Relationship Id="rId7" Type="http://schemas.openxmlformats.org/officeDocument/2006/relationships/image" Target="../media/image45.svg"/><Relationship Id="rId12" Type="http://schemas.openxmlformats.org/officeDocument/2006/relationships/image" Target="../media/image50.png"/><Relationship Id="rId17" Type="http://schemas.openxmlformats.org/officeDocument/2006/relationships/hyperlink" Target="https://www.slidebooks.com/collections/sales-and-marketing/products/marketing-sales-toolkit?variant=31584180011090" TargetMode="External"/><Relationship Id="rId25" Type="http://schemas.openxmlformats.org/officeDocument/2006/relationships/image" Target="../media/image55.svg"/><Relationship Id="rId33" Type="http://schemas.openxmlformats.org/officeDocument/2006/relationships/image" Target="../media/image61.svg"/><Relationship Id="rId38" Type="http://schemas.openxmlformats.org/officeDocument/2006/relationships/image" Target="../media/image65.svg"/><Relationship Id="rId2" Type="http://schemas.openxmlformats.org/officeDocument/2006/relationships/tags" Target="../tags/tag193.xml"/><Relationship Id="rId16" Type="http://schemas.openxmlformats.org/officeDocument/2006/relationships/hyperlink" Target="https://www.slidebooks.com/collections/project-management-change-management/products/change-and-project-management-toolkit?variant=935073897" TargetMode="External"/><Relationship Id="rId20" Type="http://schemas.openxmlformats.org/officeDocument/2006/relationships/hyperlink" Target="https://www.slidebooks.com/collections/discounted-bundle/products/behavioral-skills-toolkit?variant=22116212677" TargetMode="External"/><Relationship Id="rId29" Type="http://schemas.openxmlformats.org/officeDocument/2006/relationships/image" Target="../media/image58.png"/><Relationship Id="rId1" Type="http://schemas.openxmlformats.org/officeDocument/2006/relationships/tags" Target="../tags/tag192.xml"/><Relationship Id="rId6" Type="http://schemas.openxmlformats.org/officeDocument/2006/relationships/image" Target="../media/image4.png"/><Relationship Id="rId11" Type="http://schemas.openxmlformats.org/officeDocument/2006/relationships/image" Target="../media/image49.svg"/><Relationship Id="rId24" Type="http://schemas.openxmlformats.org/officeDocument/2006/relationships/image" Target="../media/image54.png"/><Relationship Id="rId32" Type="http://schemas.openxmlformats.org/officeDocument/2006/relationships/image" Target="../media/image60.png"/><Relationship Id="rId37" Type="http://schemas.openxmlformats.org/officeDocument/2006/relationships/image" Target="../media/image64.png"/><Relationship Id="rId5" Type="http://schemas.openxmlformats.org/officeDocument/2006/relationships/image" Target="../media/image2.emf"/><Relationship Id="rId15" Type="http://schemas.openxmlformats.org/officeDocument/2006/relationships/hyperlink" Target="https://www.slidebooks.com/collections/management-consulting/products/management-consulting-toolkit?variant=22532413423698" TargetMode="External"/><Relationship Id="rId23" Type="http://schemas.openxmlformats.org/officeDocument/2006/relationships/hyperlink" Target="https://www.slidebooks.com/products/risk-management-toolkit?variant=4357895159838" TargetMode="External"/><Relationship Id="rId28" Type="http://schemas.openxmlformats.org/officeDocument/2006/relationships/image" Target="../media/image57.svg"/><Relationship Id="rId36" Type="http://schemas.openxmlformats.org/officeDocument/2006/relationships/image" Target="../media/image63.svg"/><Relationship Id="rId10" Type="http://schemas.openxmlformats.org/officeDocument/2006/relationships/image" Target="../media/image48.png"/><Relationship Id="rId19" Type="http://schemas.openxmlformats.org/officeDocument/2006/relationships/hyperlink" Target="https://www.slidebooks.com/collections/operations-and-supply-chain-management/products/operational-excellence-toolkit?variant=21571101957" TargetMode="External"/><Relationship Id="rId31" Type="http://schemas.openxmlformats.org/officeDocument/2006/relationships/hyperlink" Target="https://www.slidebooks.com/collections/best-seller-business-documents/products/digital-transformation-toolkit?variant=32127821316178" TargetMode="External"/><Relationship Id="rId4" Type="http://schemas.openxmlformats.org/officeDocument/2006/relationships/oleObject" Target="../embeddings/oleObject90.bin"/><Relationship Id="rId9" Type="http://schemas.openxmlformats.org/officeDocument/2006/relationships/image" Target="../media/image47.svg"/><Relationship Id="rId14" Type="http://schemas.openxmlformats.org/officeDocument/2006/relationships/hyperlink" Target="https://www.slidebooks.com/collections/discounted-bundle/products/strategy-toolkit?variant=17648810693" TargetMode="External"/><Relationship Id="rId22" Type="http://schemas.openxmlformats.org/officeDocument/2006/relationships/image" Target="../media/image53.svg"/><Relationship Id="rId27" Type="http://schemas.openxmlformats.org/officeDocument/2006/relationships/image" Target="../media/image56.png"/><Relationship Id="rId30" Type="http://schemas.openxmlformats.org/officeDocument/2006/relationships/image" Target="../media/image59.svg"/><Relationship Id="rId35" Type="http://schemas.openxmlformats.org/officeDocument/2006/relationships/image" Target="../media/image62.png"/><Relationship Id="rId8" Type="http://schemas.openxmlformats.org/officeDocument/2006/relationships/image" Target="../media/image46.png"/><Relationship Id="rId3"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12"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2.emf"/><Relationship Id="rId11" Type="http://schemas.openxmlformats.org/officeDocument/2006/relationships/hyperlink" Target="https://www.slidebooks.com/products/business-toolkit?variant=12473147916370" TargetMode="External"/><Relationship Id="rId5" Type="http://schemas.openxmlformats.org/officeDocument/2006/relationships/oleObject" Target="../embeddings/oleObject91.bin"/><Relationship Id="rId10" Type="http://schemas.openxmlformats.org/officeDocument/2006/relationships/hyperlink" Target="http://www.slidebooks.com/" TargetMode="External"/><Relationship Id="rId4" Type="http://schemas.openxmlformats.org/officeDocument/2006/relationships/notesSlide" Target="../notesSlides/notesSlide52.xml"/><Relationship Id="rId9" Type="http://schemas.openxmlformats.org/officeDocument/2006/relationships/hyperlink" Target="https://www.slidebooks.com/products/strategy-toolkit?variant=17648810693"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slidebooks.com/?utm_source=email&amp;utm_medium=email&amp;utm_campaign=entering%20new%20market" TargetMode="Externa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5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ost Merger Integration Strategy and High-Level Plan</a:t>
            </a:r>
            <a:endParaRPr lang="en-US" sz="480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5" name="Picture 14">
            <a:hlinkClick r:id="rId7"/>
            <a:extLst>
              <a:ext uri="{FF2B5EF4-FFF2-40B4-BE49-F238E27FC236}">
                <a16:creationId xmlns:a16="http://schemas.microsoft.com/office/drawing/2014/main" id="{F1596133-1C2A-4BDF-B598-990C3EF2BC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sp>
        <p:nvSpPr>
          <p:cNvPr id="17" name="Text Placeholder 2">
            <a:extLst>
              <a:ext uri="{FF2B5EF4-FFF2-40B4-BE49-F238E27FC236}">
                <a16:creationId xmlns:a16="http://schemas.microsoft.com/office/drawing/2014/main" id="{5EBF9E97-9708-4254-ACAD-0CF760EC42C9}"/>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842306"/>
              </p:ext>
            </p:extLst>
          </p:nvPr>
        </p:nvGraphicFramePr>
        <p:xfrm>
          <a:off x="604837" y="1905000"/>
          <a:ext cx="10982323" cy="2907592"/>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velop &amp; Communicate the Detailed Plans</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an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17595109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2801267241"/>
              </p:ext>
            </p:extLst>
          </p:nvPr>
        </p:nvGraphicFramePr>
        <p:xfrm>
          <a:off x="604837" y="1905000"/>
          <a:ext cx="10982323" cy="3844315"/>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Implement &amp; Monitor</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2"/>
                  </a:ext>
                </a:extLst>
              </a:tr>
              <a:tr h="313902">
                <a:tc>
                  <a:txBody>
                    <a:bodyPr/>
                    <a:lstStyle/>
                    <a:p>
                      <a:pPr algn="l" fontAlgn="b"/>
                      <a:r>
                        <a:rPr lang="en-GB" sz="900" b="0" i="0" u="none" strike="noStrike" dirty="0">
                          <a:solidFill>
                            <a:srgbClr val="002060"/>
                          </a:solidFill>
                          <a:effectLst/>
                          <a:latin typeface="Arial" panose="020B0604020202020204" pitchFamily="34" charset="0"/>
                        </a:rPr>
                        <a:t>Post merger integration high-level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5"/>
                  </a:ext>
                </a:extLst>
              </a:tr>
              <a:tr h="337700">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lessons learned</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1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975875316"/>
                  </a:ext>
                </a:extLst>
              </a:tr>
              <a:tr h="312241">
                <a:tc>
                  <a:txBody>
                    <a:bodyPr/>
                    <a:lstStyle/>
                    <a:p>
                      <a:pPr algn="l" fontAlgn="b"/>
                      <a:r>
                        <a:rPr lang="en-GB" sz="900" b="0" i="0" u="none" strike="noStrike" dirty="0">
                          <a:solidFill>
                            <a:srgbClr val="002060"/>
                          </a:solidFill>
                          <a:effectLst/>
                          <a:latin typeface="Arial" panose="020B0604020202020204" pitchFamily="34" charset="0"/>
                        </a:rPr>
                        <a:t>Institutionalization of the updated PMI Toolkit</a:t>
                      </a:r>
                      <a:endParaRPr lang="en-AU" sz="900" b="0" i="0" u="none" strike="noStrike" dirty="0">
                        <a:solidFill>
                          <a:srgbClr val="002060"/>
                        </a:solidFill>
                        <a:effectLst/>
                        <a:latin typeface="Arial" panose="020B0604020202020204" pitchFamily="34" charset="0"/>
                      </a:endParaRP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24264113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32994298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906981"/>
            <a:ext cx="3474136" cy="53570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s 5 and 6</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1411304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358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Curren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8" name="Connector: Elbow 27">
            <a:extLst>
              <a:ext uri="{FF2B5EF4-FFF2-40B4-BE49-F238E27FC236}">
                <a16:creationId xmlns:a16="http://schemas.microsoft.com/office/drawing/2014/main" id="{13465034-8505-4215-9A75-2727FBA6BDAC}"/>
              </a:ext>
            </a:extLst>
          </p:cNvPr>
          <p:cNvCxnSpPr>
            <a:stCxn id="27" idx="2"/>
            <a:endCxn id="32"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stCxn id="27" idx="2"/>
            <a:endCxn id="31"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1" name="Rectangle 30">
            <a:extLst>
              <a:ext uri="{FF2B5EF4-FFF2-40B4-BE49-F238E27FC236}">
                <a16:creationId xmlns:a16="http://schemas.microsoft.com/office/drawing/2014/main" id="{203E7F0B-2463-4EA0-8F46-BC18B5053A57}"/>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Business Unit 1 CEO</a:t>
            </a:r>
          </a:p>
        </p:txBody>
      </p:sp>
      <p:sp>
        <p:nvSpPr>
          <p:cNvPr id="32" name="Rectangle 31">
            <a:extLst>
              <a:ext uri="{FF2B5EF4-FFF2-40B4-BE49-F238E27FC236}">
                <a16:creationId xmlns:a16="http://schemas.microsoft.com/office/drawing/2014/main" id="{5E0DC39B-D046-4E37-8EAE-A8E4FD8A7E69}"/>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Business Unit 2 CEO</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cxnSp>
        <p:nvCxnSpPr>
          <p:cNvPr id="38" name="Connector: Elbow 37">
            <a:extLst>
              <a:ext uri="{FF2B5EF4-FFF2-40B4-BE49-F238E27FC236}">
                <a16:creationId xmlns:a16="http://schemas.microsoft.com/office/drawing/2014/main" id="{0C6D65D2-7B30-4B1F-9433-6C5220B2B77C}"/>
              </a:ext>
            </a:extLst>
          </p:cNvPr>
          <p:cNvCxnSpPr>
            <a:stCxn id="31" idx="2"/>
            <a:endCxn id="30"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40A9351A-E4A8-4D34-9F0A-3F0F70A5A2EA}"/>
              </a:ext>
            </a:extLst>
          </p:cNvPr>
          <p:cNvCxnSpPr>
            <a:stCxn id="31" idx="2"/>
            <a:endCxn id="33"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2CD4ECE5-498A-40FF-8854-A64DF1D2C6F8}"/>
              </a:ext>
            </a:extLst>
          </p:cNvPr>
          <p:cNvCxnSpPr>
            <a:stCxn id="31" idx="2"/>
            <a:endCxn id="34"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1" name="Connector: Elbow 20">
            <a:extLst>
              <a:ext uri="{FF2B5EF4-FFF2-40B4-BE49-F238E27FC236}">
                <a16:creationId xmlns:a16="http://schemas.microsoft.com/office/drawing/2014/main" id="{4239A4F0-A1BE-4238-81C5-882B29BA2521}"/>
              </a:ext>
            </a:extLst>
          </p:cNvPr>
          <p:cNvCxnSpPr>
            <a:stCxn id="32" idx="2"/>
            <a:endCxn id="35"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E90D8D-8989-4B10-BC71-8AE87C1E275D}"/>
              </a:ext>
            </a:extLst>
          </p:cNvPr>
          <p:cNvCxnSpPr>
            <a:stCxn id="32" idx="2"/>
            <a:endCxn id="36"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79C38F9-1E61-4211-9F84-22D8C32E7D56}"/>
              </a:ext>
            </a:extLst>
          </p:cNvPr>
          <p:cNvCxnSpPr>
            <a:stCxn id="32" idx="2"/>
            <a:endCxn id="3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933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arge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2" name="Rectangle 21">
            <a:extLst>
              <a:ext uri="{FF2B5EF4-FFF2-40B4-BE49-F238E27FC236}">
                <a16:creationId xmlns:a16="http://schemas.microsoft.com/office/drawing/2014/main" id="{FE8D4114-D8C6-43E8-AF6A-AD38315BC112}"/>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3" name="Connector: Elbow 22">
            <a:extLst>
              <a:ext uri="{FF2B5EF4-FFF2-40B4-BE49-F238E27FC236}">
                <a16:creationId xmlns:a16="http://schemas.microsoft.com/office/drawing/2014/main" id="{75A27BEB-902F-4895-A930-B10447A20EBD}"/>
              </a:ext>
            </a:extLst>
          </p:cNvPr>
          <p:cNvCxnSpPr>
            <a:cxnSpLocks/>
            <a:stCxn id="22" idx="2"/>
            <a:endCxn id="51"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E3AE8FF4-4D2D-41B5-803A-6C1BE08921A2}"/>
              </a:ext>
            </a:extLst>
          </p:cNvPr>
          <p:cNvCxnSpPr>
            <a:cxnSpLocks/>
            <a:stCxn id="22" idx="2"/>
            <a:endCxn id="48"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361CDB-6382-48BE-97F5-1BED7884909F}"/>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p:txBody>
      </p:sp>
      <p:sp>
        <p:nvSpPr>
          <p:cNvPr id="26" name="Rectangle 25">
            <a:extLst>
              <a:ext uri="{FF2B5EF4-FFF2-40B4-BE49-F238E27FC236}">
                <a16:creationId xmlns:a16="http://schemas.microsoft.com/office/drawing/2014/main" id="{5AD58A05-2BD2-40F1-9A02-700183C3096E}"/>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p:txBody>
      </p:sp>
      <p:sp>
        <p:nvSpPr>
          <p:cNvPr id="44" name="Rectangle 43">
            <a:extLst>
              <a:ext uri="{FF2B5EF4-FFF2-40B4-BE49-F238E27FC236}">
                <a16:creationId xmlns:a16="http://schemas.microsoft.com/office/drawing/2014/main" id="{509BD734-2FDF-4AC2-8C44-0524D1F67D29}"/>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p:txBody>
      </p:sp>
      <p:sp>
        <p:nvSpPr>
          <p:cNvPr id="45" name="Rectangle 44">
            <a:extLst>
              <a:ext uri="{FF2B5EF4-FFF2-40B4-BE49-F238E27FC236}">
                <a16:creationId xmlns:a16="http://schemas.microsoft.com/office/drawing/2014/main" id="{0F410E93-FDFE-4579-86D8-81038E0A0727}"/>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p:txBody>
      </p:sp>
      <p:sp>
        <p:nvSpPr>
          <p:cNvPr id="46" name="Rectangle 45">
            <a:extLst>
              <a:ext uri="{FF2B5EF4-FFF2-40B4-BE49-F238E27FC236}">
                <a16:creationId xmlns:a16="http://schemas.microsoft.com/office/drawing/2014/main" id="{A0596E4D-520B-41FE-8819-EE68D9138726}"/>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p:txBody>
      </p:sp>
      <p:sp>
        <p:nvSpPr>
          <p:cNvPr id="47" name="Rectangle 46">
            <a:extLst>
              <a:ext uri="{FF2B5EF4-FFF2-40B4-BE49-F238E27FC236}">
                <a16:creationId xmlns:a16="http://schemas.microsoft.com/office/drawing/2014/main" id="{96EE69CF-8D9F-451A-BCD7-88D638FA823F}"/>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p:txBody>
      </p:sp>
      <p:sp>
        <p:nvSpPr>
          <p:cNvPr id="48" name="Rectangle 47">
            <a:extLst>
              <a:ext uri="{FF2B5EF4-FFF2-40B4-BE49-F238E27FC236}">
                <a16:creationId xmlns:a16="http://schemas.microsoft.com/office/drawing/2014/main" id="{DD8FBD90-1C94-4B6D-B9CA-0C94D9C63AA8}"/>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Financial Officer</a:t>
            </a:r>
          </a:p>
        </p:txBody>
      </p:sp>
      <p:sp>
        <p:nvSpPr>
          <p:cNvPr id="49" name="Rectangle 48">
            <a:extLst>
              <a:ext uri="{FF2B5EF4-FFF2-40B4-BE49-F238E27FC236}">
                <a16:creationId xmlns:a16="http://schemas.microsoft.com/office/drawing/2014/main" id="{4B142AF1-E03A-41CF-9FD4-FDB880C3924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Technology Officer</a:t>
            </a:r>
          </a:p>
        </p:txBody>
      </p:sp>
      <p:sp>
        <p:nvSpPr>
          <p:cNvPr id="50" name="Rectangle 49">
            <a:extLst>
              <a:ext uri="{FF2B5EF4-FFF2-40B4-BE49-F238E27FC236}">
                <a16:creationId xmlns:a16="http://schemas.microsoft.com/office/drawing/2014/main" id="{A8B5571A-AA67-419C-BBEF-6BECE42F09FB}"/>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Operating Officer</a:t>
            </a:r>
          </a:p>
        </p:txBody>
      </p:sp>
      <p:sp>
        <p:nvSpPr>
          <p:cNvPr id="51" name="Rectangle 50">
            <a:extLst>
              <a:ext uri="{FF2B5EF4-FFF2-40B4-BE49-F238E27FC236}">
                <a16:creationId xmlns:a16="http://schemas.microsoft.com/office/drawing/2014/main" id="{05E1392B-DEAB-4794-910C-21CCAE1C47B5}"/>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p:txBody>
      </p:sp>
      <p:sp>
        <p:nvSpPr>
          <p:cNvPr id="52" name="Rectangle 51">
            <a:extLst>
              <a:ext uri="{FF2B5EF4-FFF2-40B4-BE49-F238E27FC236}">
                <a16:creationId xmlns:a16="http://schemas.microsoft.com/office/drawing/2014/main" id="{C523AEE8-C3D2-4FFF-9D81-9C3AB8AF0812}"/>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p:txBody>
      </p:sp>
      <p:sp>
        <p:nvSpPr>
          <p:cNvPr id="53" name="Rectangle 52">
            <a:extLst>
              <a:ext uri="{FF2B5EF4-FFF2-40B4-BE49-F238E27FC236}">
                <a16:creationId xmlns:a16="http://schemas.microsoft.com/office/drawing/2014/main" id="{4A4468AF-B0D9-49AF-AC29-099DEF98044D}"/>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p:txBody>
      </p:sp>
      <p:cxnSp>
        <p:nvCxnSpPr>
          <p:cNvPr id="54" name="Connector: Elbow 53">
            <a:extLst>
              <a:ext uri="{FF2B5EF4-FFF2-40B4-BE49-F238E27FC236}">
                <a16:creationId xmlns:a16="http://schemas.microsoft.com/office/drawing/2014/main" id="{36252A6F-26FB-4DB4-A717-9177531598C5}"/>
              </a:ext>
            </a:extLst>
          </p:cNvPr>
          <p:cNvCxnSpPr>
            <a:cxnSpLocks/>
            <a:stCxn id="22" idx="2"/>
            <a:endCxn id="50"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394470-7274-44BF-AF91-83EF20BFF72A}"/>
              </a:ext>
            </a:extLst>
          </p:cNvPr>
          <p:cNvCxnSpPr>
            <a:cxnSpLocks/>
            <a:stCxn id="22" idx="2"/>
            <a:endCxn id="49"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2484783-24CD-4DF5-B772-8FAC31D9CF81}"/>
              </a:ext>
            </a:extLst>
          </p:cNvPr>
          <p:cNvCxnSpPr>
            <a:cxnSpLocks/>
            <a:stCxn id="48" idx="2"/>
            <a:endCxn id="25"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5029551-792B-4A5E-84F6-A3144868DD7B}"/>
              </a:ext>
            </a:extLst>
          </p:cNvPr>
          <p:cNvCxnSpPr>
            <a:cxnSpLocks/>
            <a:stCxn id="48" idx="2"/>
            <a:endCxn id="26"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FE8AE2B-6517-49E2-BA9C-8AFE4694AA73}"/>
              </a:ext>
            </a:extLst>
          </p:cNvPr>
          <p:cNvCxnSpPr>
            <a:cxnSpLocks/>
            <a:stCxn id="49" idx="2"/>
            <a:endCxn id="4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4E2D757-BD22-4305-A06E-84DAB884BE19}"/>
              </a:ext>
            </a:extLst>
          </p:cNvPr>
          <p:cNvCxnSpPr>
            <a:cxnSpLocks/>
            <a:stCxn id="49" idx="2"/>
            <a:endCxn id="4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14F0960-02FE-4D1A-B25B-1BA76B851B9D}"/>
              </a:ext>
            </a:extLst>
          </p:cNvPr>
          <p:cNvCxnSpPr>
            <a:cxnSpLocks/>
            <a:stCxn id="50" idx="2"/>
            <a:endCxn id="4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C812A24C-C9F9-435F-87A0-449F2C025F5E}"/>
              </a:ext>
            </a:extLst>
          </p:cNvPr>
          <p:cNvCxnSpPr>
            <a:cxnSpLocks/>
            <a:stCxn id="50" idx="2"/>
            <a:endCxn id="4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B4C04AC-79D1-41DE-809C-FCB95470EBED}"/>
              </a:ext>
            </a:extLst>
          </p:cNvPr>
          <p:cNvCxnSpPr>
            <a:cxnSpLocks/>
            <a:stCxn id="51" idx="2"/>
            <a:endCxn id="52"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E1593BA-22B6-4B20-93CA-D5DA6EAE3C6D}"/>
              </a:ext>
            </a:extLst>
          </p:cNvPr>
          <p:cNvCxnSpPr>
            <a:cxnSpLocks/>
            <a:stCxn id="51" idx="2"/>
            <a:endCxn id="53"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632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125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op management appointment</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a:p>
            <a:pPr algn="ctr"/>
            <a:r>
              <a:rPr lang="en-GB" altLang="ja-JP" sz="1200" dirty="0">
                <a:solidFill>
                  <a:schemeClr val="bg1"/>
                </a:solidFill>
                <a:ea typeface="ＭＳ Ｐゴシック" pitchFamily="50" charset="-128"/>
              </a:rPr>
              <a:t>John Smith</a:t>
            </a:r>
          </a:p>
        </p:txBody>
      </p:sp>
      <p:cxnSp>
        <p:nvCxnSpPr>
          <p:cNvPr id="28" name="Connector: Elbow 27">
            <a:extLst>
              <a:ext uri="{FF2B5EF4-FFF2-40B4-BE49-F238E27FC236}">
                <a16:creationId xmlns:a16="http://schemas.microsoft.com/office/drawing/2014/main" id="{13465034-8505-4215-9A75-2727FBA6BDAC}"/>
              </a:ext>
            </a:extLst>
          </p:cNvPr>
          <p:cNvCxnSpPr>
            <a:cxnSpLocks/>
            <a:stCxn id="27" idx="2"/>
            <a:endCxn id="47"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cxnSpLocks/>
            <a:stCxn id="27" idx="2"/>
            <a:endCxn id="44"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Mike G.</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Pierre G.</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a:p>
            <a:pPr algn="ctr"/>
            <a:r>
              <a:rPr lang="en-US" altLang="ja-JP" sz="1200" dirty="0">
                <a:solidFill>
                  <a:schemeClr val="tx2"/>
                </a:solidFill>
                <a:ea typeface="ＭＳ Ｐゴシック" pitchFamily="50" charset="-128"/>
              </a:rPr>
              <a:t>John V.</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Claire H.</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a:p>
            <a:pPr algn="ctr"/>
            <a:r>
              <a:rPr lang="en-GB" altLang="ja-JP" sz="1200" dirty="0">
                <a:ea typeface="ＭＳ Ｐゴシック" pitchFamily="50" charset="-128"/>
              </a:rPr>
              <a:t>Claire G.</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Elizabeth G.</a:t>
            </a:r>
          </a:p>
        </p:txBody>
      </p:sp>
      <p:sp>
        <p:nvSpPr>
          <p:cNvPr id="44" name="Rectangle 43">
            <a:extLst>
              <a:ext uri="{FF2B5EF4-FFF2-40B4-BE49-F238E27FC236}">
                <a16:creationId xmlns:a16="http://schemas.microsoft.com/office/drawing/2014/main" id="{B06C05C9-3D0C-418F-B096-A13E9EFA7600}"/>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Financial Officer</a:t>
            </a:r>
          </a:p>
          <a:p>
            <a:pPr algn="ctr"/>
            <a:r>
              <a:rPr lang="en-US" altLang="ja-JP" sz="1200" dirty="0">
                <a:ea typeface="ＭＳ Ｐゴシック" pitchFamily="50" charset="-128"/>
              </a:rPr>
              <a:t>Pauline Newman</a:t>
            </a:r>
          </a:p>
        </p:txBody>
      </p:sp>
      <p:sp>
        <p:nvSpPr>
          <p:cNvPr id="45" name="Rectangle 44">
            <a:extLst>
              <a:ext uri="{FF2B5EF4-FFF2-40B4-BE49-F238E27FC236}">
                <a16:creationId xmlns:a16="http://schemas.microsoft.com/office/drawing/2014/main" id="{31A2B00C-9D3D-42EE-8318-8B878C0FF919}"/>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Technology Officer</a:t>
            </a:r>
          </a:p>
          <a:p>
            <a:pPr algn="ctr"/>
            <a:r>
              <a:rPr lang="en-US" altLang="ja-JP" sz="1200" dirty="0">
                <a:ea typeface="ＭＳ Ｐゴシック" pitchFamily="50" charset="-128"/>
              </a:rPr>
              <a:t>Christopher Han</a:t>
            </a:r>
          </a:p>
        </p:txBody>
      </p:sp>
      <p:sp>
        <p:nvSpPr>
          <p:cNvPr id="46" name="Rectangle 45">
            <a:extLst>
              <a:ext uri="{FF2B5EF4-FFF2-40B4-BE49-F238E27FC236}">
                <a16:creationId xmlns:a16="http://schemas.microsoft.com/office/drawing/2014/main" id="{5FBAC0C6-B63A-4E26-B7CA-C1BD2C1A592D}"/>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Operating Officer</a:t>
            </a:r>
          </a:p>
          <a:p>
            <a:pPr algn="ctr"/>
            <a:r>
              <a:rPr lang="en-US" altLang="ja-JP" sz="1200" dirty="0">
                <a:ea typeface="ＭＳ Ｐゴシック" pitchFamily="50" charset="-128"/>
              </a:rPr>
              <a:t>Raphael Domino</a:t>
            </a:r>
          </a:p>
        </p:txBody>
      </p:sp>
      <p:sp>
        <p:nvSpPr>
          <p:cNvPr id="47" name="Rectangle 46">
            <a:extLst>
              <a:ext uri="{FF2B5EF4-FFF2-40B4-BE49-F238E27FC236}">
                <a16:creationId xmlns:a16="http://schemas.microsoft.com/office/drawing/2014/main" id="{B4901C05-8B9B-4F34-B66C-AF677BB84A82}"/>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a:p>
            <a:pPr algn="ctr"/>
            <a:r>
              <a:rPr lang="en-US" altLang="ja-JP" sz="1200" dirty="0">
                <a:solidFill>
                  <a:schemeClr val="tx2"/>
                </a:solidFill>
                <a:ea typeface="ＭＳ Ｐゴシック" pitchFamily="50" charset="-128"/>
              </a:rPr>
              <a:t>Caty Spheran</a:t>
            </a:r>
          </a:p>
        </p:txBody>
      </p:sp>
      <p:sp>
        <p:nvSpPr>
          <p:cNvPr id="48" name="Rectangle 47">
            <a:extLst>
              <a:ext uri="{FF2B5EF4-FFF2-40B4-BE49-F238E27FC236}">
                <a16:creationId xmlns:a16="http://schemas.microsoft.com/office/drawing/2014/main" id="{0372A19D-99DF-4973-AF52-F5499913F87D}"/>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Sebastian K.</a:t>
            </a:r>
          </a:p>
        </p:txBody>
      </p:sp>
      <p:sp>
        <p:nvSpPr>
          <p:cNvPr id="49" name="Rectangle 48">
            <a:extLst>
              <a:ext uri="{FF2B5EF4-FFF2-40B4-BE49-F238E27FC236}">
                <a16:creationId xmlns:a16="http://schemas.microsoft.com/office/drawing/2014/main" id="{A7A1375C-187F-43C6-B476-6C96E3DCBF0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Marc P.</a:t>
            </a:r>
          </a:p>
        </p:txBody>
      </p:sp>
      <p:cxnSp>
        <p:nvCxnSpPr>
          <p:cNvPr id="50" name="Connector: Elbow 49">
            <a:extLst>
              <a:ext uri="{FF2B5EF4-FFF2-40B4-BE49-F238E27FC236}">
                <a16:creationId xmlns:a16="http://schemas.microsoft.com/office/drawing/2014/main" id="{66A7E89A-6C78-497A-8EA0-E9DBC1E32214}"/>
              </a:ext>
            </a:extLst>
          </p:cNvPr>
          <p:cNvCxnSpPr>
            <a:cxnSpLocks/>
            <a:stCxn id="27" idx="2"/>
            <a:endCxn id="46"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9EF1D196-E15C-4234-92D6-3EC70329E67F}"/>
              </a:ext>
            </a:extLst>
          </p:cNvPr>
          <p:cNvCxnSpPr>
            <a:cxnSpLocks/>
            <a:stCxn id="27" idx="2"/>
            <a:endCxn id="45"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031C9BB-FDAC-4BD6-9ED2-295C26AA47EC}"/>
              </a:ext>
            </a:extLst>
          </p:cNvPr>
          <p:cNvCxnSpPr>
            <a:cxnSpLocks/>
            <a:stCxn id="44" idx="2"/>
            <a:endCxn id="30"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22E07-206E-41C7-A192-06C98FBA89EF}"/>
              </a:ext>
            </a:extLst>
          </p:cNvPr>
          <p:cNvCxnSpPr>
            <a:cxnSpLocks/>
            <a:stCxn id="44" idx="2"/>
            <a:endCxn id="33"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CC2114-22F5-43F4-BEC1-17347E0903F8}"/>
              </a:ext>
            </a:extLst>
          </p:cNvPr>
          <p:cNvCxnSpPr>
            <a:cxnSpLocks/>
            <a:stCxn id="45" idx="2"/>
            <a:endCxn id="3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17D794F-C29A-4862-BF8B-0F9F6224D4C3}"/>
              </a:ext>
            </a:extLst>
          </p:cNvPr>
          <p:cNvCxnSpPr>
            <a:cxnSpLocks/>
            <a:stCxn id="45" idx="2"/>
            <a:endCxn id="3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7D486C1-F62C-41D4-AAB3-4DE5DF744A46}"/>
              </a:ext>
            </a:extLst>
          </p:cNvPr>
          <p:cNvCxnSpPr>
            <a:cxnSpLocks/>
            <a:stCxn id="46" idx="2"/>
            <a:endCxn id="3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8913407C-4450-462D-8A91-29B44BEEF7E6}"/>
              </a:ext>
            </a:extLst>
          </p:cNvPr>
          <p:cNvCxnSpPr>
            <a:cxnSpLocks/>
            <a:stCxn id="46" idx="2"/>
            <a:endCxn id="3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1C50DB5-1F2C-4F7A-A06A-FED79114F52A}"/>
              </a:ext>
            </a:extLst>
          </p:cNvPr>
          <p:cNvCxnSpPr>
            <a:cxnSpLocks/>
            <a:stCxn id="47" idx="2"/>
            <a:endCxn id="48"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49F184FC-B3FC-454D-8B6D-0A3E74713535}"/>
              </a:ext>
            </a:extLst>
          </p:cNvPr>
          <p:cNvCxnSpPr>
            <a:cxnSpLocks/>
            <a:stCxn id="47" idx="2"/>
            <a:endCxn id="49"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04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45192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7</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447837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 the next slides, you will find a small training that you can reuse to help managers set their new teams up for succes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pic>
        <p:nvPicPr>
          <p:cNvPr id="21" name="Picture 2" descr="http://www.inductormedia.com/wp-content/uploads/2013/11/Training_ICON.png">
            <a:extLst>
              <a:ext uri="{FF2B5EF4-FFF2-40B4-BE49-F238E27FC236}">
                <a16:creationId xmlns:a16="http://schemas.microsoft.com/office/drawing/2014/main" id="{F8C0D8BE-D471-4527-B4FA-0737173D9A6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5400" y="2438400"/>
            <a:ext cx="1981200" cy="19812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89605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kumimoji="0" lang="en-GB" sz="2400" b="1" i="0" u="none" strike="noStrike" kern="0" cap="none" spc="0" normalizeH="0" baseline="0" noProof="0" dirty="0">
                <a:ln>
                  <a:noFill/>
                </a:ln>
                <a:solidFill>
                  <a:srgbClr val="002776"/>
                </a:solidFill>
                <a:effectLst/>
                <a:uLnTx/>
                <a:uFillTx/>
                <a:latin typeface="Arial"/>
                <a:ea typeface="+mj-ea"/>
                <a:cs typeface="+mj-cs"/>
              </a:rPr>
              <a:t>Training setting up your new team</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pic>
        <p:nvPicPr>
          <p:cNvPr id="6" name="Picture 2" descr="http://onemillionskates.com/wordpress/wp-content/uploads/2012/10/Team-1000x500.jpg">
            <a:extLst>
              <a:ext uri="{FF2B5EF4-FFF2-40B4-BE49-F238E27FC236}">
                <a16:creationId xmlns:a16="http://schemas.microsoft.com/office/drawing/2014/main" id="{6830AC0D-4B0D-4B57-A7DE-3F8F3E59CEDC}"/>
              </a:ext>
            </a:extLst>
          </p:cNvPr>
          <p:cNvPicPr>
            <a:picLocks noChangeAspect="1" noChangeArrowheads="1"/>
          </p:cNvPicPr>
          <p:nvPr/>
        </p:nvPicPr>
        <p:blipFill>
          <a:blip r:embed="rId6" cstate="print">
            <a:clrChange>
              <a:clrFrom>
                <a:srgbClr val="FEFEFE"/>
              </a:clrFrom>
              <a:clrTo>
                <a:srgbClr val="FEFEFE">
                  <a:alpha val="0"/>
                </a:srgbClr>
              </a:clrTo>
            </a:clrChange>
          </a:blip>
          <a:srcRect/>
          <a:stretch>
            <a:fillRect/>
          </a:stretch>
        </p:blipFill>
        <p:spPr bwMode="auto">
          <a:xfrm>
            <a:off x="2994795" y="2354450"/>
            <a:ext cx="6202410" cy="3101206"/>
          </a:xfrm>
          <a:prstGeom prst="rect">
            <a:avLst/>
          </a:prstGeom>
          <a:noFill/>
        </p:spPr>
      </p:pic>
    </p:spTree>
    <p:extLst>
      <p:ext uri="{BB962C8B-B14F-4D97-AF65-F5344CB8AC3E}">
        <p14:creationId xmlns:p14="http://schemas.microsoft.com/office/powerpoint/2010/main" val="37143254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ational thinking and emotio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effectLst/>
                <a:uLnTx/>
                <a:uFillTx/>
                <a:ea typeface="+mn-ea"/>
                <a:cs typeface="+mn-cs"/>
              </a:rPr>
              <a:t>As humans we have 2 drivers – our Hearts &amp; Minds.  As a leader you need to appeal to both the heart (emotions) and mind (rational thinking) in order to support people through change.</a:t>
            </a:r>
            <a:endParaRPr kumimoji="0" lang="en-GB" sz="1600" b="1" i="0" u="none" strike="noStrike" kern="1200" cap="none" spc="0" normalizeH="0" baseline="0" noProof="0" dirty="0">
              <a:ln>
                <a:noFill/>
              </a:ln>
              <a:effectLst/>
              <a:uLnTx/>
              <a:uFillTx/>
              <a:ea typeface="+mn-ea"/>
              <a:cs typeface="+mn-cs"/>
            </a:endParaRPr>
          </a:p>
        </p:txBody>
      </p:sp>
      <p:sp>
        <p:nvSpPr>
          <p:cNvPr id="8" name="Rounded Rectangle 16">
            <a:extLst>
              <a:ext uri="{FF2B5EF4-FFF2-40B4-BE49-F238E27FC236}">
                <a16:creationId xmlns:a16="http://schemas.microsoft.com/office/drawing/2014/main" id="{8E75370A-0D89-4BAC-80AC-92E954EF2D78}"/>
              </a:ext>
            </a:extLst>
          </p:cNvPr>
          <p:cNvSpPr/>
          <p:nvPr/>
        </p:nvSpPr>
        <p:spPr>
          <a:xfrm>
            <a:off x="591705" y="2343667"/>
            <a:ext cx="5118875" cy="3951341"/>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he 2 tonne elephant is our emotional side being tenuously controlled by a much smaller rider, who represents our rational s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So if your focus is to lead change, you need to appeal to both the heart and mind in order to create the required engagement to successfully drive the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o satisfy the elephant which is much bigger, you will have to understand and consider emotions. </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4010192"/>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10" name="Rounded Rectangle 12">
            <a:extLst>
              <a:ext uri="{FF2B5EF4-FFF2-40B4-BE49-F238E27FC236}">
                <a16:creationId xmlns:a16="http://schemas.microsoft.com/office/drawing/2014/main" id="{F321B7AD-305F-4BE2-8336-594E7066B6CA}"/>
              </a:ext>
            </a:extLst>
          </p:cNvPr>
          <p:cNvSpPr/>
          <p:nvPr/>
        </p:nvSpPr>
        <p:spPr>
          <a:xfrm>
            <a:off x="6472574" y="2343667"/>
            <a:ext cx="5118875" cy="3951341"/>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400" b="0" i="0" u="none" strike="noStrike" kern="0" cap="none" spc="0" normalizeH="0" baseline="0" noProof="0" dirty="0">
              <a:ln>
                <a:noFill/>
              </a:ln>
              <a:effectLst/>
              <a:uLnTx/>
              <a:uFillTx/>
              <a:ea typeface="+mn-ea"/>
              <a:cs typeface="+mn-cs"/>
            </a:endParaRPr>
          </a:p>
        </p:txBody>
      </p:sp>
      <p:pic>
        <p:nvPicPr>
          <p:cNvPr id="11" name="Picture 10" descr="Insert Drawing :)">
            <a:extLst>
              <a:ext uri="{FF2B5EF4-FFF2-40B4-BE49-F238E27FC236}">
                <a16:creationId xmlns:a16="http://schemas.microsoft.com/office/drawing/2014/main" id="{25D6445E-D30B-4A69-9E30-7596F75D6F02}"/>
              </a:ext>
            </a:extLst>
          </p:cNvPr>
          <p:cNvPicPr/>
          <p:nvPr/>
        </p:nvPicPr>
        <p:blipFill>
          <a:blip r:embed="rId6" cstate="print"/>
          <a:srcRect l="5426" r="12650"/>
          <a:stretch>
            <a:fillRect/>
          </a:stretch>
        </p:blipFill>
        <p:spPr bwMode="auto">
          <a:xfrm>
            <a:off x="7269887" y="3260280"/>
            <a:ext cx="3524249" cy="2435619"/>
          </a:xfrm>
          <a:prstGeom prst="rect">
            <a:avLst/>
          </a:prstGeom>
          <a:noFill/>
          <a:ln w="9525">
            <a:noFill/>
            <a:miter lim="800000"/>
            <a:headEnd/>
            <a:tailEnd/>
          </a:ln>
        </p:spPr>
      </p:pic>
      <p:cxnSp>
        <p:nvCxnSpPr>
          <p:cNvPr id="12" name="Straight Arrow Connector 11">
            <a:extLst>
              <a:ext uri="{FF2B5EF4-FFF2-40B4-BE49-F238E27FC236}">
                <a16:creationId xmlns:a16="http://schemas.microsoft.com/office/drawing/2014/main" id="{697A29D8-C8CF-42D5-90AB-9C3EAC8A589D}"/>
              </a:ext>
            </a:extLst>
          </p:cNvPr>
          <p:cNvCxnSpPr/>
          <p:nvPr/>
        </p:nvCxnSpPr>
        <p:spPr bwMode="auto">
          <a:xfrm flipH="1">
            <a:off x="9308236" y="2718750"/>
            <a:ext cx="400050" cy="5810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62975DBA-E238-42F2-BB9C-A18260D030BE}"/>
              </a:ext>
            </a:extLst>
          </p:cNvPr>
          <p:cNvCxnSpPr/>
          <p:nvPr/>
        </p:nvCxnSpPr>
        <p:spPr bwMode="auto">
          <a:xfrm flipH="1" flipV="1">
            <a:off x="8793886" y="5100000"/>
            <a:ext cx="914400" cy="7715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TextBox 14">
            <a:extLst>
              <a:ext uri="{FF2B5EF4-FFF2-40B4-BE49-F238E27FC236}">
                <a16:creationId xmlns:a16="http://schemas.microsoft.com/office/drawing/2014/main" id="{CFFF8A89-7E5F-41DC-AB3B-9F6542587189}"/>
              </a:ext>
            </a:extLst>
          </p:cNvPr>
          <p:cNvSpPr txBox="1"/>
          <p:nvPr/>
        </p:nvSpPr>
        <p:spPr>
          <a:xfrm>
            <a:off x="8860561" y="2490150"/>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Rational Side</a:t>
            </a:r>
          </a:p>
        </p:txBody>
      </p:sp>
      <p:sp>
        <p:nvSpPr>
          <p:cNvPr id="17" name="TextBox 16">
            <a:extLst>
              <a:ext uri="{FF2B5EF4-FFF2-40B4-BE49-F238E27FC236}">
                <a16:creationId xmlns:a16="http://schemas.microsoft.com/office/drawing/2014/main" id="{35AA4E42-80DE-4679-8D65-962CA8D30800}"/>
              </a:ext>
            </a:extLst>
          </p:cNvPr>
          <p:cNvSpPr txBox="1"/>
          <p:nvPr/>
        </p:nvSpPr>
        <p:spPr>
          <a:xfrm>
            <a:off x="8860561" y="5871525"/>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Emotional Side</a:t>
            </a:r>
          </a:p>
        </p:txBody>
      </p:sp>
    </p:spTree>
    <p:extLst>
      <p:ext uri="{BB962C8B-B14F-4D97-AF65-F5344CB8AC3E}">
        <p14:creationId xmlns:p14="http://schemas.microsoft.com/office/powerpoint/2010/main" val="1414149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zoom on the phase I of the Post Merger Integration (PMI)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148501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ounded Rectangle 12">
            <a:extLst>
              <a:ext uri="{FF2B5EF4-FFF2-40B4-BE49-F238E27FC236}">
                <a16:creationId xmlns:a16="http://schemas.microsoft.com/office/drawing/2014/main" id="{5DEE5EF9-DEF0-41C8-B04E-C031D1802B6C}"/>
              </a:ext>
            </a:extLst>
          </p:cNvPr>
          <p:cNvSpPr/>
          <p:nvPr/>
        </p:nvSpPr>
        <p:spPr>
          <a:xfrm>
            <a:off x="6472574" y="2026227"/>
            <a:ext cx="5118875" cy="4432479"/>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sp>
        <p:nvSpPr>
          <p:cNvPr id="18" name="Rounded Rectangle 16">
            <a:extLst>
              <a:ext uri="{FF2B5EF4-FFF2-40B4-BE49-F238E27FC236}">
                <a16:creationId xmlns:a16="http://schemas.microsoft.com/office/drawing/2014/main" id="{59C34926-3CE4-4823-B661-F14F15431999}"/>
              </a:ext>
            </a:extLst>
          </p:cNvPr>
          <p:cNvSpPr/>
          <p:nvPr/>
        </p:nvSpPr>
        <p:spPr>
          <a:xfrm>
            <a:off x="591705" y="2026227"/>
            <a:ext cx="5118875" cy="4432479"/>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Change is about losing something of value, familiarity and comfort. This curve will be used to help us understand how people react to change, so that you can help them make their own personal transitions and make sure that they have the help and support they ne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We all react differently when impacted by change, some take longer than others to work through it and some don’t experience the depth of the curve as deeply as oth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As a leader, it helps to understand how people will react to change, so that you can help and support them while they transition through this curve from Denial to Commit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The “idea clouds” on the curve indicate how you can help your people. i.e. If they show resistance, then focus on list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Based on the change curve, the higher the impact the more likely your team will experience the change more deep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You may notice however, some of your new team members may be “early adopters” and get on board with change real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quickly. Discovering where your team members are at in their personal transition, and meeting them there, is a perfect start to your role of helping and supporting others</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eaction to chang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The change curve is a powerful model used to understand the stages of personal transition.</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3933321"/>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20" name="Rectangle 38">
            <a:extLst>
              <a:ext uri="{FF2B5EF4-FFF2-40B4-BE49-F238E27FC236}">
                <a16:creationId xmlns:a16="http://schemas.microsoft.com/office/drawing/2014/main" id="{A22ACB1F-1368-4167-8C74-0A4FD8F9F50A}"/>
              </a:ext>
            </a:extLst>
          </p:cNvPr>
          <p:cNvSpPr>
            <a:spLocks noChangeArrowheads="1"/>
          </p:cNvSpPr>
          <p:nvPr>
            <p:custDataLst>
              <p:tags r:id="rId2"/>
            </p:custDataLst>
          </p:nvPr>
        </p:nvSpPr>
        <p:spPr bwMode="gray">
          <a:xfrm>
            <a:off x="7522147" y="2264251"/>
            <a:ext cx="3048000" cy="223112"/>
          </a:xfrm>
          <a:prstGeom prst="rect">
            <a:avLst/>
          </a:prstGeom>
          <a:solidFill>
            <a:schemeClr val="bg1"/>
          </a:solidFill>
          <a:ln w="12700" cap="rnd" algn="ctr">
            <a:noFill/>
            <a:miter lim="800000"/>
            <a:headEnd/>
            <a:tailEnd/>
          </a:ln>
        </p:spPr>
        <p:txBody>
          <a:bodyPr wrap="square" lIns="72000" tIns="0" rIns="72000" bIns="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The Change Curve</a:t>
            </a:r>
          </a:p>
        </p:txBody>
      </p:sp>
      <p:sp>
        <p:nvSpPr>
          <p:cNvPr id="21" name="Left Brace 20">
            <a:extLst>
              <a:ext uri="{FF2B5EF4-FFF2-40B4-BE49-F238E27FC236}">
                <a16:creationId xmlns:a16="http://schemas.microsoft.com/office/drawing/2014/main" id="{547F5E91-D030-4738-B4B9-62E106EAE929}"/>
              </a:ext>
            </a:extLst>
          </p:cNvPr>
          <p:cNvSpPr/>
          <p:nvPr/>
        </p:nvSpPr>
        <p:spPr bwMode="auto">
          <a:xfrm rot="16200000">
            <a:off x="7865050" y="4776728"/>
            <a:ext cx="295275" cy="1647825"/>
          </a:xfrm>
          <a:prstGeom prst="leftBrace">
            <a:avLst>
              <a:gd name="adj1" fmla="val 3648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22" name="Picture 21" descr="C:\Users\s79501\Desktop\CHANGE HOUSE.jpg">
            <a:extLst>
              <a:ext uri="{FF2B5EF4-FFF2-40B4-BE49-F238E27FC236}">
                <a16:creationId xmlns:a16="http://schemas.microsoft.com/office/drawing/2014/main" id="{2FE6C5AC-30DB-4E67-97ED-99FF41995FC7}"/>
              </a:ext>
            </a:extLst>
          </p:cNvPr>
          <p:cNvPicPr/>
          <p:nvPr/>
        </p:nvPicPr>
        <p:blipFill>
          <a:blip r:embed="rId7" cstate="print"/>
          <a:srcRect t="18859" r="3332" b="4799"/>
          <a:stretch>
            <a:fillRect/>
          </a:stretch>
        </p:blipFill>
        <p:spPr bwMode="auto">
          <a:xfrm>
            <a:off x="7160197" y="2725386"/>
            <a:ext cx="3743629" cy="2622845"/>
          </a:xfrm>
          <a:prstGeom prst="rect">
            <a:avLst/>
          </a:prstGeom>
          <a:noFill/>
          <a:ln w="9525">
            <a:noFill/>
            <a:miter lim="800000"/>
            <a:headEnd/>
            <a:tailEnd/>
          </a:ln>
        </p:spPr>
      </p:pic>
      <p:sp>
        <p:nvSpPr>
          <p:cNvPr id="23" name="Left Brace 22">
            <a:extLst>
              <a:ext uri="{FF2B5EF4-FFF2-40B4-BE49-F238E27FC236}">
                <a16:creationId xmlns:a16="http://schemas.microsoft.com/office/drawing/2014/main" id="{873D4148-4A1E-47FB-A97F-B2E69F1692E7}"/>
              </a:ext>
            </a:extLst>
          </p:cNvPr>
          <p:cNvSpPr/>
          <p:nvPr/>
        </p:nvSpPr>
        <p:spPr bwMode="auto">
          <a:xfrm rot="16200000">
            <a:off x="9712900" y="4776729"/>
            <a:ext cx="295275" cy="1647823"/>
          </a:xfrm>
          <a:prstGeom prst="leftBrace">
            <a:avLst>
              <a:gd name="adj1" fmla="val 3296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4" name="Content Placeholder 7">
            <a:extLst>
              <a:ext uri="{FF2B5EF4-FFF2-40B4-BE49-F238E27FC236}">
                <a16:creationId xmlns:a16="http://schemas.microsoft.com/office/drawing/2014/main" id="{D5F26AA5-B6B7-43DE-ADFA-63DE3FCD3D7F}"/>
              </a:ext>
            </a:extLst>
          </p:cNvPr>
          <p:cNvSpPr txBox="1">
            <a:spLocks/>
          </p:cNvSpPr>
          <p:nvPr/>
        </p:nvSpPr>
        <p:spPr>
          <a:xfrm>
            <a:off x="7284028"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Emo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
        <p:nvSpPr>
          <p:cNvPr id="25" name="Content Placeholder 7">
            <a:extLst>
              <a:ext uri="{FF2B5EF4-FFF2-40B4-BE49-F238E27FC236}">
                <a16:creationId xmlns:a16="http://schemas.microsoft.com/office/drawing/2014/main" id="{7DDE7859-EB99-497D-B3D6-BA638CA9A0D7}"/>
              </a:ext>
            </a:extLst>
          </p:cNvPr>
          <p:cNvSpPr txBox="1">
            <a:spLocks/>
          </p:cNvSpPr>
          <p:nvPr/>
        </p:nvSpPr>
        <p:spPr>
          <a:xfrm>
            <a:off x="9122353"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Ra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599795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the impact of change on </a:t>
            </a:r>
            <a:br>
              <a:rPr lang="en-US" sz="2400" dirty="0"/>
            </a:br>
            <a:r>
              <a:rPr lang="en-US" sz="2400" dirty="0"/>
              <a:t>your team membe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a:ea typeface="+mn-ea"/>
                <a:cs typeface="+mn-cs"/>
              </a:rPr>
              <a:t>Based on where your team members have come from, varying levels of impact may be experienced. This matrix will help you identify the impact of the restructure on individuals in your team – this awareness will help you consider appropriate activities to support them on a personal level.</a:t>
            </a:r>
            <a:endParaRPr kumimoji="0" lang="en-AU" sz="1400" i="0" u="none" strike="noStrike" kern="1200" cap="none" spc="0" normalizeH="0" baseline="0" noProof="0" dirty="0">
              <a:ln>
                <a:noFill/>
              </a:ln>
              <a:effectLst/>
              <a:uLnTx/>
              <a:uFillTx/>
              <a:latin typeface="Arial"/>
              <a:ea typeface="+mn-ea"/>
              <a:cs typeface="+mn-cs"/>
            </a:endParaRPr>
          </a:p>
        </p:txBody>
      </p:sp>
      <p:sp>
        <p:nvSpPr>
          <p:cNvPr id="15" name="Rectangle 34">
            <a:extLst>
              <a:ext uri="{FF2B5EF4-FFF2-40B4-BE49-F238E27FC236}">
                <a16:creationId xmlns:a16="http://schemas.microsoft.com/office/drawing/2014/main" id="{F0D8F8AC-CCA1-41A7-A381-D4A2728BEBA9}"/>
              </a:ext>
            </a:extLst>
          </p:cNvPr>
          <p:cNvSpPr>
            <a:spLocks noChangeArrowheads="1"/>
          </p:cNvSpPr>
          <p:nvPr>
            <p:custDataLst>
              <p:tags r:id="rId2"/>
            </p:custDataLst>
          </p:nvPr>
        </p:nvSpPr>
        <p:spPr bwMode="auto">
          <a:xfrm>
            <a:off x="3361204" y="5410845"/>
            <a:ext cx="1227900" cy="439224"/>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 or 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No change)</a:t>
            </a:r>
          </a:p>
        </p:txBody>
      </p:sp>
      <p:sp>
        <p:nvSpPr>
          <p:cNvPr id="17" name="Rectangle 39">
            <a:extLst>
              <a:ext uri="{FF2B5EF4-FFF2-40B4-BE49-F238E27FC236}">
                <a16:creationId xmlns:a16="http://schemas.microsoft.com/office/drawing/2014/main" id="{EBC34F82-CA24-42AF-93FD-BF9CD5F4A24A}"/>
              </a:ext>
            </a:extLst>
          </p:cNvPr>
          <p:cNvSpPr>
            <a:spLocks noChangeArrowheads="1"/>
          </p:cNvSpPr>
          <p:nvPr>
            <p:custDataLst>
              <p:tags r:id="rId3"/>
            </p:custDataLst>
          </p:nvPr>
        </p:nvSpPr>
        <p:spPr bwMode="auto">
          <a:xfrm rot="16200000">
            <a:off x="1248279" y="3561090"/>
            <a:ext cx="167674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Role</a:t>
            </a:r>
          </a:p>
        </p:txBody>
      </p:sp>
      <p:sp>
        <p:nvSpPr>
          <p:cNvPr id="26" name="Rectangle 40">
            <a:extLst>
              <a:ext uri="{FF2B5EF4-FFF2-40B4-BE49-F238E27FC236}">
                <a16:creationId xmlns:a16="http://schemas.microsoft.com/office/drawing/2014/main" id="{DD002C67-ED77-4E9B-8ADA-BA9A4A2BD48B}"/>
              </a:ext>
            </a:extLst>
          </p:cNvPr>
          <p:cNvSpPr>
            <a:spLocks noChangeArrowheads="1"/>
          </p:cNvSpPr>
          <p:nvPr>
            <p:custDataLst>
              <p:tags r:id="rId4"/>
            </p:custDataLst>
          </p:nvPr>
        </p:nvSpPr>
        <p:spPr bwMode="auto">
          <a:xfrm>
            <a:off x="4414352" y="5910112"/>
            <a:ext cx="3414204" cy="579646"/>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environment</a:t>
            </a:r>
          </a:p>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Company, Division, BU, and Reporting Line)</a:t>
            </a:r>
          </a:p>
        </p:txBody>
      </p:sp>
      <p:sp>
        <p:nvSpPr>
          <p:cNvPr id="27" name="Rectangle 34">
            <a:extLst>
              <a:ext uri="{FF2B5EF4-FFF2-40B4-BE49-F238E27FC236}">
                <a16:creationId xmlns:a16="http://schemas.microsoft.com/office/drawing/2014/main" id="{6DDE7F27-C255-40F4-841A-F4AA18F2A6C5}"/>
              </a:ext>
            </a:extLst>
          </p:cNvPr>
          <p:cNvSpPr>
            <a:spLocks noChangeArrowheads="1"/>
          </p:cNvSpPr>
          <p:nvPr>
            <p:custDataLst>
              <p:tags r:id="rId5"/>
            </p:custDataLst>
          </p:nvPr>
        </p:nvSpPr>
        <p:spPr bwMode="auto">
          <a:xfrm>
            <a:off x="7302839" y="5368512"/>
            <a:ext cx="1929830" cy="462307"/>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company</a:t>
            </a:r>
            <a:r>
              <a:rPr kumimoji="0" lang="en-GB" sz="1200" b="0" i="0" u="none" strike="noStrike" kern="1200" cap="none" spc="0" normalizeH="0" baseline="0" noProof="0" dirty="0">
                <a:ln>
                  <a:noFill/>
                </a:ln>
                <a:effectLst/>
                <a:uLnTx/>
                <a:uFillTx/>
                <a:latin typeface="Arial"/>
                <a:ea typeface="+mn-ea"/>
                <a:cs typeface="+mn-cs"/>
              </a:rPr>
              <a:t>)</a:t>
            </a:r>
          </a:p>
        </p:txBody>
      </p:sp>
      <p:sp>
        <p:nvSpPr>
          <p:cNvPr id="28" name="Rectangle 34">
            <a:extLst>
              <a:ext uri="{FF2B5EF4-FFF2-40B4-BE49-F238E27FC236}">
                <a16:creationId xmlns:a16="http://schemas.microsoft.com/office/drawing/2014/main" id="{75246FCB-2CA3-428C-B8DF-D511EF5057A8}"/>
              </a:ext>
            </a:extLst>
          </p:cNvPr>
          <p:cNvSpPr>
            <a:spLocks noChangeArrowheads="1"/>
          </p:cNvSpPr>
          <p:nvPr>
            <p:custDataLst>
              <p:tags r:id="rId6"/>
            </p:custDataLst>
          </p:nvPr>
        </p:nvSpPr>
        <p:spPr bwMode="auto">
          <a:xfrm rot="16200000">
            <a:off x="2563210" y="4678007"/>
            <a:ext cx="36388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a:t>
            </a:r>
          </a:p>
        </p:txBody>
      </p:sp>
      <p:sp>
        <p:nvSpPr>
          <p:cNvPr id="29" name="Rectangle 34">
            <a:extLst>
              <a:ext uri="{FF2B5EF4-FFF2-40B4-BE49-F238E27FC236}">
                <a16:creationId xmlns:a16="http://schemas.microsoft.com/office/drawing/2014/main" id="{DED9D71C-FCEA-4ED4-8D46-1556587522F8}"/>
              </a:ext>
            </a:extLst>
          </p:cNvPr>
          <p:cNvSpPr>
            <a:spLocks noChangeArrowheads="1"/>
          </p:cNvSpPr>
          <p:nvPr>
            <p:custDataLst>
              <p:tags r:id="rId7"/>
            </p:custDataLst>
          </p:nvPr>
        </p:nvSpPr>
        <p:spPr bwMode="auto">
          <a:xfrm rot="16200000">
            <a:off x="2406767" y="2473917"/>
            <a:ext cx="543418"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Role</a:t>
            </a:r>
          </a:p>
        </p:txBody>
      </p:sp>
      <p:sp>
        <p:nvSpPr>
          <p:cNvPr id="30" name="Rectangle 34">
            <a:extLst>
              <a:ext uri="{FF2B5EF4-FFF2-40B4-BE49-F238E27FC236}">
                <a16:creationId xmlns:a16="http://schemas.microsoft.com/office/drawing/2014/main" id="{5DE0AD98-2C61-483D-8302-D9E2444CCB46}"/>
              </a:ext>
            </a:extLst>
          </p:cNvPr>
          <p:cNvSpPr>
            <a:spLocks noChangeArrowheads="1"/>
          </p:cNvSpPr>
          <p:nvPr>
            <p:custDataLst>
              <p:tags r:id="rId8"/>
            </p:custDataLst>
          </p:nvPr>
        </p:nvSpPr>
        <p:spPr bwMode="auto">
          <a:xfrm>
            <a:off x="4959404" y="5410845"/>
            <a:ext cx="2324100" cy="623890"/>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Med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Team or Fun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p:txBody>
      </p:sp>
      <p:sp>
        <p:nvSpPr>
          <p:cNvPr id="31" name="Rectangle 34">
            <a:extLst>
              <a:ext uri="{FF2B5EF4-FFF2-40B4-BE49-F238E27FC236}">
                <a16:creationId xmlns:a16="http://schemas.microsoft.com/office/drawing/2014/main" id="{0B52FE7C-AB2B-4614-ACB7-8A33A2006F54}"/>
              </a:ext>
            </a:extLst>
          </p:cNvPr>
          <p:cNvSpPr>
            <a:spLocks noChangeArrowheads="1"/>
          </p:cNvSpPr>
          <p:nvPr>
            <p:custDataLst>
              <p:tags r:id="rId9"/>
            </p:custDataLst>
          </p:nvPr>
        </p:nvSpPr>
        <p:spPr bwMode="auto">
          <a:xfrm rot="16200000">
            <a:off x="2284046" y="3526667"/>
            <a:ext cx="807913"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m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changes</a:t>
            </a:r>
          </a:p>
        </p:txBody>
      </p:sp>
      <p:sp>
        <p:nvSpPr>
          <p:cNvPr id="35" name="Rectangle 34">
            <a:extLst>
              <a:ext uri="{FF2B5EF4-FFF2-40B4-BE49-F238E27FC236}">
                <a16:creationId xmlns:a16="http://schemas.microsoft.com/office/drawing/2014/main" id="{818682C6-E3C1-4524-A08C-EC794B3930C1}"/>
              </a:ext>
            </a:extLst>
          </p:cNvPr>
          <p:cNvSpPr/>
          <p:nvPr/>
        </p:nvSpPr>
        <p:spPr bwMode="auto">
          <a:xfrm>
            <a:off x="7200954" y="217869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6" name="Rectangle 35">
            <a:extLst>
              <a:ext uri="{FF2B5EF4-FFF2-40B4-BE49-F238E27FC236}">
                <a16:creationId xmlns:a16="http://schemas.microsoft.com/office/drawing/2014/main" id="{0EF47709-BE48-47E6-922D-6665520B05FA}"/>
              </a:ext>
            </a:extLst>
          </p:cNvPr>
          <p:cNvSpPr/>
          <p:nvPr/>
        </p:nvSpPr>
        <p:spPr bwMode="auto">
          <a:xfrm>
            <a:off x="5041954" y="2178695"/>
            <a:ext cx="2167467"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7" name="Rectangle 36">
            <a:extLst>
              <a:ext uri="{FF2B5EF4-FFF2-40B4-BE49-F238E27FC236}">
                <a16:creationId xmlns:a16="http://schemas.microsoft.com/office/drawing/2014/main" id="{D9E6E763-15BA-4CA2-B5F1-2E54FDB6F009}"/>
              </a:ext>
            </a:extLst>
          </p:cNvPr>
          <p:cNvSpPr/>
          <p:nvPr/>
        </p:nvSpPr>
        <p:spPr bwMode="auto">
          <a:xfrm>
            <a:off x="2908354" y="2178695"/>
            <a:ext cx="2133600"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8" name="Rectangle 37">
            <a:extLst>
              <a:ext uri="{FF2B5EF4-FFF2-40B4-BE49-F238E27FC236}">
                <a16:creationId xmlns:a16="http://schemas.microsoft.com/office/drawing/2014/main" id="{C7727AAD-7721-4879-8715-4C93ECF0F91B}"/>
              </a:ext>
            </a:extLst>
          </p:cNvPr>
          <p:cNvSpPr/>
          <p:nvPr/>
        </p:nvSpPr>
        <p:spPr bwMode="auto">
          <a:xfrm>
            <a:off x="7200954" y="323144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9" name="Rectangle 38">
            <a:extLst>
              <a:ext uri="{FF2B5EF4-FFF2-40B4-BE49-F238E27FC236}">
                <a16:creationId xmlns:a16="http://schemas.microsoft.com/office/drawing/2014/main" id="{9FCA45C9-341D-46F3-B7A1-1310F59CA7AF}"/>
              </a:ext>
            </a:extLst>
          </p:cNvPr>
          <p:cNvSpPr/>
          <p:nvPr/>
        </p:nvSpPr>
        <p:spPr bwMode="auto">
          <a:xfrm>
            <a:off x="5041954" y="3231445"/>
            <a:ext cx="2167467"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0" name="Rectangle 39">
            <a:extLst>
              <a:ext uri="{FF2B5EF4-FFF2-40B4-BE49-F238E27FC236}">
                <a16:creationId xmlns:a16="http://schemas.microsoft.com/office/drawing/2014/main" id="{F59AB1B5-7CC3-4CD7-A129-EC58927966D2}"/>
              </a:ext>
            </a:extLst>
          </p:cNvPr>
          <p:cNvSpPr/>
          <p:nvPr/>
        </p:nvSpPr>
        <p:spPr bwMode="auto">
          <a:xfrm>
            <a:off x="2908354" y="3231445"/>
            <a:ext cx="2133600" cy="1052750"/>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1" name="Rectangle 40">
            <a:extLst>
              <a:ext uri="{FF2B5EF4-FFF2-40B4-BE49-F238E27FC236}">
                <a16:creationId xmlns:a16="http://schemas.microsoft.com/office/drawing/2014/main" id="{3A4584D0-AA22-40BB-956C-A2A95415651C}"/>
              </a:ext>
            </a:extLst>
          </p:cNvPr>
          <p:cNvSpPr/>
          <p:nvPr/>
        </p:nvSpPr>
        <p:spPr bwMode="auto">
          <a:xfrm>
            <a:off x="7200954" y="4285715"/>
            <a:ext cx="2133600" cy="1062224"/>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2" name="Rectangle 41">
            <a:extLst>
              <a:ext uri="{FF2B5EF4-FFF2-40B4-BE49-F238E27FC236}">
                <a16:creationId xmlns:a16="http://schemas.microsoft.com/office/drawing/2014/main" id="{0F956778-CE5C-476E-AAE9-90AA7E557500}"/>
              </a:ext>
            </a:extLst>
          </p:cNvPr>
          <p:cNvSpPr/>
          <p:nvPr/>
        </p:nvSpPr>
        <p:spPr bwMode="auto">
          <a:xfrm>
            <a:off x="5041954" y="4285715"/>
            <a:ext cx="2167467"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3" name="Rectangle 42">
            <a:extLst>
              <a:ext uri="{FF2B5EF4-FFF2-40B4-BE49-F238E27FC236}">
                <a16:creationId xmlns:a16="http://schemas.microsoft.com/office/drawing/2014/main" id="{19AEDAE6-DB5B-42F2-B60E-4A8AC3EBE1E8}"/>
              </a:ext>
            </a:extLst>
          </p:cNvPr>
          <p:cNvSpPr/>
          <p:nvPr/>
        </p:nvSpPr>
        <p:spPr bwMode="auto">
          <a:xfrm>
            <a:off x="2908354" y="4285715"/>
            <a:ext cx="2133600"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4" name="Oval 56">
            <a:extLst>
              <a:ext uri="{FF2B5EF4-FFF2-40B4-BE49-F238E27FC236}">
                <a16:creationId xmlns:a16="http://schemas.microsoft.com/office/drawing/2014/main" id="{5A3A6692-0F79-4892-BB5A-DD6500AA6469}"/>
              </a:ext>
            </a:extLst>
          </p:cNvPr>
          <p:cNvSpPr>
            <a:spLocks noChangeAspect="1"/>
          </p:cNvSpPr>
          <p:nvPr/>
        </p:nvSpPr>
        <p:spPr>
          <a:xfrm>
            <a:off x="7581177" y="2216183"/>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5" name="Oval 56">
            <a:extLst>
              <a:ext uri="{FF2B5EF4-FFF2-40B4-BE49-F238E27FC236}">
                <a16:creationId xmlns:a16="http://schemas.microsoft.com/office/drawing/2014/main" id="{A0D74090-B310-4230-BFE0-FDF7660A2198}"/>
              </a:ext>
            </a:extLst>
          </p:cNvPr>
          <p:cNvSpPr>
            <a:spLocks noChangeAspect="1"/>
          </p:cNvSpPr>
          <p:nvPr/>
        </p:nvSpPr>
        <p:spPr>
          <a:xfrm>
            <a:off x="6091043" y="3486184"/>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6" name="Oval 56">
            <a:extLst>
              <a:ext uri="{FF2B5EF4-FFF2-40B4-BE49-F238E27FC236}">
                <a16:creationId xmlns:a16="http://schemas.microsoft.com/office/drawing/2014/main" id="{D0147F12-FB9E-48E9-9446-2DEAB790E956}"/>
              </a:ext>
            </a:extLst>
          </p:cNvPr>
          <p:cNvSpPr>
            <a:spLocks noChangeAspect="1"/>
          </p:cNvSpPr>
          <p:nvPr/>
        </p:nvSpPr>
        <p:spPr>
          <a:xfrm>
            <a:off x="3849470" y="3893642"/>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extBox 46">
            <a:extLst>
              <a:ext uri="{FF2B5EF4-FFF2-40B4-BE49-F238E27FC236}">
                <a16:creationId xmlns:a16="http://schemas.microsoft.com/office/drawing/2014/main" id="{7B0C4AEE-F935-4371-A463-3D8D2DEBE122}"/>
              </a:ext>
            </a:extLst>
          </p:cNvPr>
          <p:cNvSpPr txBox="1"/>
          <p:nvPr/>
        </p:nvSpPr>
        <p:spPr>
          <a:xfrm>
            <a:off x="7353353" y="2768705"/>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ack</a:t>
            </a:r>
          </a:p>
        </p:txBody>
      </p:sp>
      <p:sp>
        <p:nvSpPr>
          <p:cNvPr id="48" name="TextBox 47">
            <a:extLst>
              <a:ext uri="{FF2B5EF4-FFF2-40B4-BE49-F238E27FC236}">
                <a16:creationId xmlns:a16="http://schemas.microsoft.com/office/drawing/2014/main" id="{04A568CA-4459-42F1-A0BD-6C5D8855965C}"/>
              </a:ext>
            </a:extLst>
          </p:cNvPr>
          <p:cNvSpPr txBox="1"/>
          <p:nvPr/>
        </p:nvSpPr>
        <p:spPr>
          <a:xfrm>
            <a:off x="5880152" y="3979439"/>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ohn</a:t>
            </a:r>
          </a:p>
        </p:txBody>
      </p:sp>
      <p:sp>
        <p:nvSpPr>
          <p:cNvPr id="49" name="TextBox 48">
            <a:extLst>
              <a:ext uri="{FF2B5EF4-FFF2-40B4-BE49-F238E27FC236}">
                <a16:creationId xmlns:a16="http://schemas.microsoft.com/office/drawing/2014/main" id="{181EA45E-108C-4849-B74D-87E17A7D6470}"/>
              </a:ext>
            </a:extLst>
          </p:cNvPr>
          <p:cNvSpPr txBox="1"/>
          <p:nvPr/>
        </p:nvSpPr>
        <p:spPr>
          <a:xfrm>
            <a:off x="3630111" y="4446164"/>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Lisa</a:t>
            </a:r>
          </a:p>
        </p:txBody>
      </p:sp>
      <p:sp>
        <p:nvSpPr>
          <p:cNvPr id="50" name="Rectangle 49">
            <a:extLst>
              <a:ext uri="{FF2B5EF4-FFF2-40B4-BE49-F238E27FC236}">
                <a16:creationId xmlns:a16="http://schemas.microsoft.com/office/drawing/2014/main" id="{57B1A8FE-2BD2-4E25-9A78-1843E751F80F}"/>
              </a:ext>
            </a:extLst>
          </p:cNvPr>
          <p:cNvSpPr/>
          <p:nvPr/>
        </p:nvSpPr>
        <p:spPr bwMode="auto">
          <a:xfrm>
            <a:off x="8786031" y="724936"/>
            <a:ext cx="778127" cy="382984"/>
          </a:xfrm>
          <a:prstGeom prst="rect">
            <a:avLst/>
          </a:prstGeom>
          <a:solidFill>
            <a:srgbClr val="EBF6DE"/>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Low Impact</a:t>
            </a:r>
          </a:p>
        </p:txBody>
      </p:sp>
      <p:sp>
        <p:nvSpPr>
          <p:cNvPr id="51" name="Rectangle 50">
            <a:extLst>
              <a:ext uri="{FF2B5EF4-FFF2-40B4-BE49-F238E27FC236}">
                <a16:creationId xmlns:a16="http://schemas.microsoft.com/office/drawing/2014/main" id="{4A98B9AC-0044-498B-BD3F-CD68E45257B3}"/>
              </a:ext>
            </a:extLst>
          </p:cNvPr>
          <p:cNvSpPr/>
          <p:nvPr/>
        </p:nvSpPr>
        <p:spPr bwMode="auto">
          <a:xfrm>
            <a:off x="9776631" y="724936"/>
            <a:ext cx="778127" cy="382984"/>
          </a:xfrm>
          <a:prstGeom prst="rect">
            <a:avLst/>
          </a:prstGeom>
          <a:solidFill>
            <a:srgbClr val="FFF2C9"/>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Medium Impact</a:t>
            </a:r>
          </a:p>
        </p:txBody>
      </p:sp>
      <p:sp>
        <p:nvSpPr>
          <p:cNvPr id="52" name="Rectangle 51">
            <a:extLst>
              <a:ext uri="{FF2B5EF4-FFF2-40B4-BE49-F238E27FC236}">
                <a16:creationId xmlns:a16="http://schemas.microsoft.com/office/drawing/2014/main" id="{44F34891-02EC-4247-B1E6-87FFB424F213}"/>
              </a:ext>
            </a:extLst>
          </p:cNvPr>
          <p:cNvSpPr/>
          <p:nvPr/>
        </p:nvSpPr>
        <p:spPr bwMode="auto">
          <a:xfrm>
            <a:off x="10758764" y="724936"/>
            <a:ext cx="778127" cy="382984"/>
          </a:xfrm>
          <a:prstGeom prst="rect">
            <a:avLst/>
          </a:prstGeom>
          <a:solidFill>
            <a:srgbClr val="FFD1D2"/>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High Impact</a:t>
            </a:r>
          </a:p>
        </p:txBody>
      </p:sp>
      <p:sp>
        <p:nvSpPr>
          <p:cNvPr id="53" name="TextBox 52">
            <a:extLst>
              <a:ext uri="{FF2B5EF4-FFF2-40B4-BE49-F238E27FC236}">
                <a16:creationId xmlns:a16="http://schemas.microsoft.com/office/drawing/2014/main" id="{04DD4DD3-FA01-4FA9-BB99-BF05B5949F92}"/>
              </a:ext>
            </a:extLst>
          </p:cNvPr>
          <p:cNvSpPr txBox="1"/>
          <p:nvPr/>
        </p:nvSpPr>
        <p:spPr>
          <a:xfrm>
            <a:off x="7846233" y="786186"/>
            <a:ext cx="1058332" cy="276999"/>
          </a:xfrm>
          <a:prstGeom prst="rect">
            <a:avLst/>
          </a:prstGeom>
          <a:noFill/>
        </p:spPr>
        <p:txBody>
          <a:bodyPr wrap="square" rtlCol="0">
            <a:spAutoFit/>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2776"/>
                </a:solidFill>
                <a:effectLst/>
                <a:uLnTx/>
                <a:uFillTx/>
                <a:latin typeface="Arial" charset="0"/>
                <a:ea typeface="+mn-ea"/>
                <a:cs typeface="Arial" charset="0"/>
              </a:rPr>
              <a:t>Legend:</a:t>
            </a:r>
          </a:p>
        </p:txBody>
      </p:sp>
    </p:spTree>
    <p:extLst>
      <p:ext uri="{BB962C8B-B14F-4D97-AF65-F5344CB8AC3E}">
        <p14:creationId xmlns:p14="http://schemas.microsoft.com/office/powerpoint/2010/main" val="14031883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Forming a team taking into account of the 4 stages of team develop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latin typeface="Arial"/>
                <a:ea typeface="+mn-ea"/>
                <a:cs typeface="+mn-cs"/>
              </a:rPr>
              <a:t>Forming a team takes time, and members often go through recognisable stages as they change from being collections of strangers to united groups with common goals. </a:t>
            </a:r>
          </a:p>
        </p:txBody>
      </p:sp>
      <p:sp>
        <p:nvSpPr>
          <p:cNvPr id="33" name="TextBox 32">
            <a:extLst>
              <a:ext uri="{FF2B5EF4-FFF2-40B4-BE49-F238E27FC236}">
                <a16:creationId xmlns:a16="http://schemas.microsoft.com/office/drawing/2014/main" id="{90346581-4594-48F8-9B9F-630B0F37A592}"/>
              </a:ext>
            </a:extLst>
          </p:cNvPr>
          <p:cNvSpPr txBox="1"/>
          <p:nvPr/>
        </p:nvSpPr>
        <p:spPr>
          <a:xfrm>
            <a:off x="1481618" y="3432317"/>
            <a:ext cx="2018706"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FORMING</a:t>
            </a:r>
          </a:p>
        </p:txBody>
      </p:sp>
      <p:sp>
        <p:nvSpPr>
          <p:cNvPr id="34" name="TextBox 33">
            <a:extLst>
              <a:ext uri="{FF2B5EF4-FFF2-40B4-BE49-F238E27FC236}">
                <a16:creationId xmlns:a16="http://schemas.microsoft.com/office/drawing/2014/main" id="{F01C68E1-5647-4AEF-844C-B993FD262A93}"/>
              </a:ext>
            </a:extLst>
          </p:cNvPr>
          <p:cNvSpPr txBox="1"/>
          <p:nvPr/>
        </p:nvSpPr>
        <p:spPr>
          <a:xfrm>
            <a:off x="3500324" y="3139558"/>
            <a:ext cx="2030722"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STORMING</a:t>
            </a:r>
          </a:p>
        </p:txBody>
      </p:sp>
      <p:sp>
        <p:nvSpPr>
          <p:cNvPr id="54" name="TextBox 53">
            <a:extLst>
              <a:ext uri="{FF2B5EF4-FFF2-40B4-BE49-F238E27FC236}">
                <a16:creationId xmlns:a16="http://schemas.microsoft.com/office/drawing/2014/main" id="{DE2FDAF8-F631-4F5B-B9F9-995C23CA23A2}"/>
              </a:ext>
            </a:extLst>
          </p:cNvPr>
          <p:cNvSpPr txBox="1"/>
          <p:nvPr/>
        </p:nvSpPr>
        <p:spPr>
          <a:xfrm>
            <a:off x="5519030" y="2854711"/>
            <a:ext cx="1970640"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NORMING</a:t>
            </a:r>
          </a:p>
        </p:txBody>
      </p:sp>
      <p:sp>
        <p:nvSpPr>
          <p:cNvPr id="55" name="TextBox 54">
            <a:extLst>
              <a:ext uri="{FF2B5EF4-FFF2-40B4-BE49-F238E27FC236}">
                <a16:creationId xmlns:a16="http://schemas.microsoft.com/office/drawing/2014/main" id="{5BA5F3D8-3974-4FE1-8E2B-F081D43227B5}"/>
              </a:ext>
            </a:extLst>
          </p:cNvPr>
          <p:cNvSpPr txBox="1"/>
          <p:nvPr/>
        </p:nvSpPr>
        <p:spPr>
          <a:xfrm>
            <a:off x="7489243" y="2554040"/>
            <a:ext cx="2210963"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PERFORMING</a:t>
            </a:r>
          </a:p>
        </p:txBody>
      </p:sp>
      <p:sp>
        <p:nvSpPr>
          <p:cNvPr id="61" name="TextBox 60">
            <a:extLst>
              <a:ext uri="{FF2B5EF4-FFF2-40B4-BE49-F238E27FC236}">
                <a16:creationId xmlns:a16="http://schemas.microsoft.com/office/drawing/2014/main" id="{AE4671D9-CB3A-4C93-8100-390A76E3EFFB}"/>
              </a:ext>
            </a:extLst>
          </p:cNvPr>
          <p:cNvSpPr txBox="1"/>
          <p:nvPr/>
        </p:nvSpPr>
        <p:spPr>
          <a:xfrm>
            <a:off x="3416210" y="2638994"/>
            <a:ext cx="20066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Intragroup conflict, distrust and knowledge hoarding</a:t>
            </a:r>
            <a:endParaRPr kumimoji="0" lang="en-AU" sz="1000" b="1" i="0" u="none" strike="noStrike" kern="1200" cap="none" spc="0" normalizeH="0" baseline="0" noProof="0" dirty="0">
              <a:ln>
                <a:noFill/>
              </a:ln>
              <a:effectLst/>
              <a:uLnTx/>
              <a:uFillTx/>
              <a:ea typeface="+mn-ea"/>
              <a:cs typeface="+mn-cs"/>
            </a:endParaRPr>
          </a:p>
        </p:txBody>
      </p:sp>
      <p:sp>
        <p:nvSpPr>
          <p:cNvPr id="62" name="TextBox 61">
            <a:extLst>
              <a:ext uri="{FF2B5EF4-FFF2-40B4-BE49-F238E27FC236}">
                <a16:creationId xmlns:a16="http://schemas.microsoft.com/office/drawing/2014/main" id="{66CAC0D4-8152-4AFF-BF0A-FFE7E6B4A156}"/>
              </a:ext>
            </a:extLst>
          </p:cNvPr>
          <p:cNvSpPr txBox="1"/>
          <p:nvPr/>
        </p:nvSpPr>
        <p:spPr>
          <a:xfrm>
            <a:off x="5398867" y="2219636"/>
            <a:ext cx="2006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Close relationships and cohesiveness, knowledge sharing and collaboration</a:t>
            </a:r>
            <a:endParaRPr kumimoji="0" lang="en-AU" sz="1000" b="1" i="0" u="none" strike="noStrike" kern="1200" cap="none" spc="0" normalizeH="0" baseline="0" noProof="0" dirty="0">
              <a:ln>
                <a:noFill/>
              </a:ln>
              <a:effectLst/>
              <a:uLnTx/>
              <a:uFillTx/>
              <a:ea typeface="+mn-ea"/>
              <a:cs typeface="+mn-cs"/>
            </a:endParaRPr>
          </a:p>
        </p:txBody>
      </p:sp>
      <p:sp>
        <p:nvSpPr>
          <p:cNvPr id="63" name="TextBox 62">
            <a:extLst>
              <a:ext uri="{FF2B5EF4-FFF2-40B4-BE49-F238E27FC236}">
                <a16:creationId xmlns:a16="http://schemas.microsoft.com/office/drawing/2014/main" id="{8315B8C2-D625-41B5-810F-4C5DCD77FA45}"/>
              </a:ext>
            </a:extLst>
          </p:cNvPr>
          <p:cNvSpPr txBox="1"/>
          <p:nvPr/>
        </p:nvSpPr>
        <p:spPr>
          <a:xfrm>
            <a:off x="7489241" y="2116775"/>
            <a:ext cx="193502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Team members work toward getting their job done</a:t>
            </a:r>
          </a:p>
        </p:txBody>
      </p:sp>
      <p:sp>
        <p:nvSpPr>
          <p:cNvPr id="64" name="Cloud Callout 42">
            <a:extLst>
              <a:ext uri="{FF2B5EF4-FFF2-40B4-BE49-F238E27FC236}">
                <a16:creationId xmlns:a16="http://schemas.microsoft.com/office/drawing/2014/main" id="{D1B3A76A-7400-4B09-9699-6F647729EEE8}"/>
              </a:ext>
            </a:extLst>
          </p:cNvPr>
          <p:cNvSpPr/>
          <p:nvPr/>
        </p:nvSpPr>
        <p:spPr bwMode="auto">
          <a:xfrm>
            <a:off x="8054429" y="2937626"/>
            <a:ext cx="3532734" cy="1148387"/>
          </a:xfrm>
          <a:prstGeom prst="cloudCallout">
            <a:avLst>
              <a:gd name="adj1" fmla="val -107520"/>
              <a:gd name="adj2" fmla="val 217"/>
            </a:avLst>
          </a:prstGeom>
          <a:solidFill>
            <a:schemeClr val="bg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Each step builds on the previous o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Skipping any step impacts performing negativ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With every new challenge, the process repeats</a:t>
            </a:r>
          </a:p>
        </p:txBody>
      </p:sp>
      <p:sp>
        <p:nvSpPr>
          <p:cNvPr id="66" name="Right Arrow 41">
            <a:extLst>
              <a:ext uri="{FF2B5EF4-FFF2-40B4-BE49-F238E27FC236}">
                <a16:creationId xmlns:a16="http://schemas.microsoft.com/office/drawing/2014/main" id="{7DB4EB77-37A1-49A1-A17C-9D196D7C69D9}"/>
              </a:ext>
            </a:extLst>
          </p:cNvPr>
          <p:cNvSpPr/>
          <p:nvPr/>
        </p:nvSpPr>
        <p:spPr>
          <a:xfrm>
            <a:off x="1289507" y="4163070"/>
            <a:ext cx="2791209" cy="2043361"/>
          </a:xfrm>
          <a:prstGeom prst="homePlate">
            <a:avLst>
              <a:gd name="adj" fmla="val 20098"/>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N" dirty="0"/>
          </a:p>
        </p:txBody>
      </p:sp>
      <p:sp>
        <p:nvSpPr>
          <p:cNvPr id="67" name="Right Arrow 4">
            <a:extLst>
              <a:ext uri="{FF2B5EF4-FFF2-40B4-BE49-F238E27FC236}">
                <a16:creationId xmlns:a16="http://schemas.microsoft.com/office/drawing/2014/main" id="{72164D4B-8816-4477-9B29-663C1B5D6ACE}"/>
              </a:ext>
            </a:extLst>
          </p:cNvPr>
          <p:cNvSpPr/>
          <p:nvPr/>
        </p:nvSpPr>
        <p:spPr>
          <a:xfrm>
            <a:off x="2097337" y="4487123"/>
            <a:ext cx="1631664" cy="139525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a miss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goal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Establish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eader direct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velop a team Chart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fine reward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Take ri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Gather regularly to work on common ta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sert leadership</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cide to be ONE team</a:t>
            </a:r>
          </a:p>
        </p:txBody>
      </p:sp>
      <p:grpSp>
        <p:nvGrpSpPr>
          <p:cNvPr id="68" name="Group 21">
            <a:extLst>
              <a:ext uri="{FF2B5EF4-FFF2-40B4-BE49-F238E27FC236}">
                <a16:creationId xmlns:a16="http://schemas.microsoft.com/office/drawing/2014/main" id="{0DB4B123-3532-4F11-80C6-60E156A0566C}"/>
              </a:ext>
            </a:extLst>
          </p:cNvPr>
          <p:cNvGrpSpPr/>
          <p:nvPr/>
        </p:nvGrpSpPr>
        <p:grpSpPr>
          <a:xfrm>
            <a:off x="591705" y="4486350"/>
            <a:ext cx="1395604" cy="1396800"/>
            <a:chOff x="4190" y="2121801"/>
            <a:chExt cx="1106276" cy="1106276"/>
          </a:xfrm>
        </p:grpSpPr>
        <p:sp>
          <p:nvSpPr>
            <p:cNvPr id="69" name="Oval 68">
              <a:extLst>
                <a:ext uri="{FF2B5EF4-FFF2-40B4-BE49-F238E27FC236}">
                  <a16:creationId xmlns:a16="http://schemas.microsoft.com/office/drawing/2014/main" id="{8B1DC107-AA93-4F0E-8B7D-4F8E8CB24232}"/>
                </a:ext>
              </a:extLst>
            </p:cNvPr>
            <p:cNvSpPr/>
            <p:nvPr/>
          </p:nvSpPr>
          <p:spPr>
            <a:xfrm>
              <a:off x="4190"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0" name="Oval 6">
              <a:extLst>
                <a:ext uri="{FF2B5EF4-FFF2-40B4-BE49-F238E27FC236}">
                  <a16:creationId xmlns:a16="http://schemas.microsoft.com/office/drawing/2014/main" id="{0440C506-18E7-4B71-A10E-F55F8BD32675}"/>
                </a:ext>
              </a:extLst>
            </p:cNvPr>
            <p:cNvSpPr/>
            <p:nvPr/>
          </p:nvSpPr>
          <p:spPr>
            <a:xfrm>
              <a:off x="166200"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Forming to Storming</a:t>
              </a:r>
            </a:p>
          </p:txBody>
        </p:sp>
      </p:grpSp>
      <p:sp>
        <p:nvSpPr>
          <p:cNvPr id="72" name="Right Arrow 37">
            <a:extLst>
              <a:ext uri="{FF2B5EF4-FFF2-40B4-BE49-F238E27FC236}">
                <a16:creationId xmlns:a16="http://schemas.microsoft.com/office/drawing/2014/main" id="{E4D28A3C-57B5-457B-9AFE-23963E847438}"/>
              </a:ext>
            </a:extLst>
          </p:cNvPr>
          <p:cNvSpPr/>
          <p:nvPr/>
        </p:nvSpPr>
        <p:spPr>
          <a:xfrm>
            <a:off x="4952971" y="4163070"/>
            <a:ext cx="2791209" cy="2043361"/>
          </a:xfrm>
          <a:prstGeom prst="homePlate">
            <a:avLst>
              <a:gd name="adj" fmla="val 17866"/>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3" name="Right Arrow 8">
            <a:extLst>
              <a:ext uri="{FF2B5EF4-FFF2-40B4-BE49-F238E27FC236}">
                <a16:creationId xmlns:a16="http://schemas.microsoft.com/office/drawing/2014/main" id="{1F082DFA-2D98-4CDD-BD61-59C4A3B90020}"/>
              </a:ext>
            </a:extLst>
          </p:cNvPr>
          <p:cNvSpPr/>
          <p:nvPr/>
        </p:nvSpPr>
        <p:spPr>
          <a:xfrm>
            <a:off x="5760800" y="4348624"/>
            <a:ext cx="1631664" cy="16722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Leader:</a:t>
            </a:r>
            <a:endParaRPr kumimoji="0" lang="en-AU" sz="800" b="0"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inforce behaviour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reate positive environmen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and expect result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cognise wi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endParaRPr kumimoji="0" lang="en-AU" sz="800" b="1"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Team:</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gree on individual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Buy into objectives and ac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isten to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upport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feedback</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onour commitments</a:t>
            </a:r>
          </a:p>
        </p:txBody>
      </p:sp>
      <p:grpSp>
        <p:nvGrpSpPr>
          <p:cNvPr id="74" name="Group 24">
            <a:extLst>
              <a:ext uri="{FF2B5EF4-FFF2-40B4-BE49-F238E27FC236}">
                <a16:creationId xmlns:a16="http://schemas.microsoft.com/office/drawing/2014/main" id="{2F5E8F72-C28E-4B4E-9097-215DA8631DBD}"/>
              </a:ext>
            </a:extLst>
          </p:cNvPr>
          <p:cNvGrpSpPr/>
          <p:nvPr/>
        </p:nvGrpSpPr>
        <p:grpSpPr>
          <a:xfrm>
            <a:off x="4255168" y="4486350"/>
            <a:ext cx="1395604" cy="1396800"/>
            <a:chOff x="2908166" y="2121801"/>
            <a:chExt cx="1106276" cy="1106276"/>
          </a:xfrm>
        </p:grpSpPr>
        <p:sp>
          <p:nvSpPr>
            <p:cNvPr id="75" name="Oval 74">
              <a:extLst>
                <a:ext uri="{FF2B5EF4-FFF2-40B4-BE49-F238E27FC236}">
                  <a16:creationId xmlns:a16="http://schemas.microsoft.com/office/drawing/2014/main" id="{A0F67AFE-10BF-4473-8797-69BCC57B633C}"/>
                </a:ext>
              </a:extLst>
            </p:cNvPr>
            <p:cNvSpPr/>
            <p:nvPr/>
          </p:nvSpPr>
          <p:spPr>
            <a:xfrm>
              <a:off x="2908166"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6" name="Oval 10">
              <a:extLst>
                <a:ext uri="{FF2B5EF4-FFF2-40B4-BE49-F238E27FC236}">
                  <a16:creationId xmlns:a16="http://schemas.microsoft.com/office/drawing/2014/main" id="{09F0FA1D-F92B-4671-AA3D-C21C705841BD}"/>
                </a:ext>
              </a:extLst>
            </p:cNvPr>
            <p:cNvSpPr/>
            <p:nvPr/>
          </p:nvSpPr>
          <p:spPr>
            <a:xfrm>
              <a:off x="3070176"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Storming to Norming</a:t>
              </a:r>
            </a:p>
          </p:txBody>
        </p:sp>
      </p:grpSp>
      <p:sp>
        <p:nvSpPr>
          <p:cNvPr id="78" name="Right Arrow 33">
            <a:extLst>
              <a:ext uri="{FF2B5EF4-FFF2-40B4-BE49-F238E27FC236}">
                <a16:creationId xmlns:a16="http://schemas.microsoft.com/office/drawing/2014/main" id="{550054A3-A5E2-4058-96B8-75C5F40026BC}"/>
              </a:ext>
            </a:extLst>
          </p:cNvPr>
          <p:cNvSpPr/>
          <p:nvPr/>
        </p:nvSpPr>
        <p:spPr>
          <a:xfrm>
            <a:off x="8616434" y="4163070"/>
            <a:ext cx="2791209" cy="2043361"/>
          </a:xfrm>
          <a:prstGeom prst="homePlate">
            <a:avLst>
              <a:gd name="adj" fmla="val 20544"/>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9" name="Right Arrow 12">
            <a:extLst>
              <a:ext uri="{FF2B5EF4-FFF2-40B4-BE49-F238E27FC236}">
                <a16:creationId xmlns:a16="http://schemas.microsoft.com/office/drawing/2014/main" id="{F0D8633E-F329-4F26-81DF-72D6D887C916}"/>
              </a:ext>
            </a:extLst>
          </p:cNvPr>
          <p:cNvSpPr/>
          <p:nvPr/>
        </p:nvSpPr>
        <p:spPr>
          <a:xfrm>
            <a:off x="9424263" y="4431724"/>
            <a:ext cx="1631664" cy="15060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Maintain tradi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Praise and flatter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lf-evaluate without a fu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leadership role in team based on who does what the bes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wards and succe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ommunicate. Alway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sponsibility</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legate and commi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Keep raising the ba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ire “right people for the right role” mindset</a:t>
            </a:r>
          </a:p>
        </p:txBody>
      </p:sp>
      <p:grpSp>
        <p:nvGrpSpPr>
          <p:cNvPr id="80" name="Group 28">
            <a:extLst>
              <a:ext uri="{FF2B5EF4-FFF2-40B4-BE49-F238E27FC236}">
                <a16:creationId xmlns:a16="http://schemas.microsoft.com/office/drawing/2014/main" id="{A2F5B128-32E5-49CF-BE94-8BE7A43F8391}"/>
              </a:ext>
            </a:extLst>
          </p:cNvPr>
          <p:cNvGrpSpPr/>
          <p:nvPr/>
        </p:nvGrpSpPr>
        <p:grpSpPr>
          <a:xfrm>
            <a:off x="7918630" y="4486350"/>
            <a:ext cx="1395604" cy="1396800"/>
            <a:chOff x="5812142" y="2121801"/>
            <a:chExt cx="1106276" cy="1106276"/>
          </a:xfrm>
        </p:grpSpPr>
        <p:sp>
          <p:nvSpPr>
            <p:cNvPr id="81" name="Oval 80">
              <a:extLst>
                <a:ext uri="{FF2B5EF4-FFF2-40B4-BE49-F238E27FC236}">
                  <a16:creationId xmlns:a16="http://schemas.microsoft.com/office/drawing/2014/main" id="{A4A665F2-DDCC-4661-BB38-E0679C9A596E}"/>
                </a:ext>
              </a:extLst>
            </p:cNvPr>
            <p:cNvSpPr/>
            <p:nvPr/>
          </p:nvSpPr>
          <p:spPr>
            <a:xfrm>
              <a:off x="5812142"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2" name="Oval 14">
              <a:extLst>
                <a:ext uri="{FF2B5EF4-FFF2-40B4-BE49-F238E27FC236}">
                  <a16:creationId xmlns:a16="http://schemas.microsoft.com/office/drawing/2014/main" id="{7CA1D346-0CBE-47AA-9E35-DA9CDD00DF3C}"/>
                </a:ext>
              </a:extLst>
            </p:cNvPr>
            <p:cNvSpPr/>
            <p:nvPr/>
          </p:nvSpPr>
          <p:spPr>
            <a:xfrm>
              <a:off x="5974152"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Norming to Performing</a:t>
              </a:r>
            </a:p>
          </p:txBody>
        </p:sp>
      </p:grpSp>
      <p:sp>
        <p:nvSpPr>
          <p:cNvPr id="83" name="TextBox 82">
            <a:extLst>
              <a:ext uri="{FF2B5EF4-FFF2-40B4-BE49-F238E27FC236}">
                <a16:creationId xmlns:a16="http://schemas.microsoft.com/office/drawing/2014/main" id="{CDAEE067-C054-4134-A33E-96B345FBD6A5}"/>
              </a:ext>
            </a:extLst>
          </p:cNvPr>
          <p:cNvSpPr txBox="1"/>
          <p:nvPr/>
        </p:nvSpPr>
        <p:spPr>
          <a:xfrm>
            <a:off x="1481618" y="2946295"/>
            <a:ext cx="18664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Knowledge is hidden and trust is unknown</a:t>
            </a:r>
            <a:endParaRPr kumimoji="0" lang="en-AU" sz="1000" b="1"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29775760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73495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8</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07689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3477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synergy: Cost synergy and Revenue synergy</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10" name="TextBox 9">
            <a:extLst>
              <a:ext uri="{FF2B5EF4-FFF2-40B4-BE49-F238E27FC236}">
                <a16:creationId xmlns:a16="http://schemas.microsoft.com/office/drawing/2014/main" id="{8A54A829-86A1-4AE1-9B72-7C7931C16AC3}"/>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The break down of the cost synergy and revenue synergy is not comprehensive </a:t>
            </a:r>
          </a:p>
        </p:txBody>
      </p:sp>
      <p:sp>
        <p:nvSpPr>
          <p:cNvPr id="11" name="Rectangle 10">
            <a:extLst>
              <a:ext uri="{FF2B5EF4-FFF2-40B4-BE49-F238E27FC236}">
                <a16:creationId xmlns:a16="http://schemas.microsoft.com/office/drawing/2014/main" id="{85A9FDE8-5CB3-4442-ADF0-6D0A6CCFF344}"/>
              </a:ext>
            </a:extLst>
          </p:cNvPr>
          <p:cNvSpPr>
            <a:spLocks noChangeArrowheads="1"/>
          </p:cNvSpPr>
          <p:nvPr/>
        </p:nvSpPr>
        <p:spPr bwMode="auto">
          <a:xfrm>
            <a:off x="5187247" y="1711614"/>
            <a:ext cx="1849439" cy="792162"/>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Total synergy</a:t>
            </a:r>
          </a:p>
        </p:txBody>
      </p:sp>
      <p:sp>
        <p:nvSpPr>
          <p:cNvPr id="12" name="Rectangle 11">
            <a:extLst>
              <a:ext uri="{FF2B5EF4-FFF2-40B4-BE49-F238E27FC236}">
                <a16:creationId xmlns:a16="http://schemas.microsoft.com/office/drawing/2014/main" id="{498B4710-D990-496D-BB76-77FA9380F2EF}"/>
              </a:ext>
            </a:extLst>
          </p:cNvPr>
          <p:cNvSpPr>
            <a:spLocks noChangeArrowheads="1"/>
          </p:cNvSpPr>
          <p:nvPr/>
        </p:nvSpPr>
        <p:spPr bwMode="auto">
          <a:xfrm>
            <a:off x="633845"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eople duplication</a:t>
            </a:r>
          </a:p>
        </p:txBody>
      </p:sp>
      <p:sp>
        <p:nvSpPr>
          <p:cNvPr id="14" name="Rectangle 13">
            <a:extLst>
              <a:ext uri="{FF2B5EF4-FFF2-40B4-BE49-F238E27FC236}">
                <a16:creationId xmlns:a16="http://schemas.microsoft.com/office/drawing/2014/main" id="{A60725B1-CE75-4D93-8A99-FC162E27536A}"/>
              </a:ext>
            </a:extLst>
          </p:cNvPr>
          <p:cNvSpPr>
            <a:spLocks noChangeArrowheads="1"/>
          </p:cNvSpPr>
          <p:nvPr/>
        </p:nvSpPr>
        <p:spPr bwMode="auto">
          <a:xfrm>
            <a:off x="2336524"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IT system duplication</a:t>
            </a:r>
          </a:p>
        </p:txBody>
      </p:sp>
      <p:sp>
        <p:nvSpPr>
          <p:cNvPr id="15" name="Rectangle 14">
            <a:extLst>
              <a:ext uri="{FF2B5EF4-FFF2-40B4-BE49-F238E27FC236}">
                <a16:creationId xmlns:a16="http://schemas.microsoft.com/office/drawing/2014/main" id="{33606725-99B4-482B-AA68-68B27827D6B3}"/>
              </a:ext>
            </a:extLst>
          </p:cNvPr>
          <p:cNvSpPr>
            <a:spLocks noChangeArrowheads="1"/>
          </p:cNvSpPr>
          <p:nvPr/>
        </p:nvSpPr>
        <p:spPr bwMode="auto">
          <a:xfrm>
            <a:off x="4042130"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rocess duplication</a:t>
            </a:r>
          </a:p>
        </p:txBody>
      </p:sp>
      <p:sp>
        <p:nvSpPr>
          <p:cNvPr id="17" name="Rectangle 16">
            <a:extLst>
              <a:ext uri="{FF2B5EF4-FFF2-40B4-BE49-F238E27FC236}">
                <a16:creationId xmlns:a16="http://schemas.microsoft.com/office/drawing/2014/main" id="{CE2A47EC-2FB6-4688-9327-623F9208C903}"/>
              </a:ext>
            </a:extLst>
          </p:cNvPr>
          <p:cNvSpPr>
            <a:spLocks noChangeArrowheads="1"/>
          </p:cNvSpPr>
          <p:nvPr/>
        </p:nvSpPr>
        <p:spPr bwMode="auto">
          <a:xfrm>
            <a:off x="6754128"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Cross selling products</a:t>
            </a:r>
          </a:p>
        </p:txBody>
      </p:sp>
      <p:sp>
        <p:nvSpPr>
          <p:cNvPr id="18" name="Rectangle 17">
            <a:extLst>
              <a:ext uri="{FF2B5EF4-FFF2-40B4-BE49-F238E27FC236}">
                <a16:creationId xmlns:a16="http://schemas.microsoft.com/office/drawing/2014/main" id="{AF049922-1BB8-431C-A373-C7A2157F6181}"/>
              </a:ext>
            </a:extLst>
          </p:cNvPr>
          <p:cNvSpPr>
            <a:spLocks noChangeArrowheads="1"/>
          </p:cNvSpPr>
          <p:nvPr/>
        </p:nvSpPr>
        <p:spPr bwMode="auto">
          <a:xfrm>
            <a:off x="8462659"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into new channels</a:t>
            </a:r>
          </a:p>
        </p:txBody>
      </p:sp>
      <p:sp>
        <p:nvSpPr>
          <p:cNvPr id="19" name="Rectangle 18">
            <a:extLst>
              <a:ext uri="{FF2B5EF4-FFF2-40B4-BE49-F238E27FC236}">
                <a16:creationId xmlns:a16="http://schemas.microsoft.com/office/drawing/2014/main" id="{0AB09BA2-F89D-4EBC-88C2-4604D65C538C}"/>
              </a:ext>
            </a:extLst>
          </p:cNvPr>
          <p:cNvSpPr>
            <a:spLocks noChangeArrowheads="1"/>
          </p:cNvSpPr>
          <p:nvPr/>
        </p:nvSpPr>
        <p:spPr bwMode="auto">
          <a:xfrm>
            <a:off x="10165338"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geographies</a:t>
            </a:r>
          </a:p>
        </p:txBody>
      </p:sp>
      <p:sp>
        <p:nvSpPr>
          <p:cNvPr id="20" name="Rectangle 19">
            <a:extLst>
              <a:ext uri="{FF2B5EF4-FFF2-40B4-BE49-F238E27FC236}">
                <a16:creationId xmlns:a16="http://schemas.microsoft.com/office/drawing/2014/main" id="{250CEADB-7C96-4812-818D-FD0D06B2A9CF}"/>
              </a:ext>
            </a:extLst>
          </p:cNvPr>
          <p:cNvSpPr>
            <a:spLocks noChangeArrowheads="1"/>
          </p:cNvSpPr>
          <p:nvPr/>
        </p:nvSpPr>
        <p:spPr bwMode="auto">
          <a:xfrm>
            <a:off x="2250263"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Cost synergy*</a:t>
            </a:r>
          </a:p>
        </p:txBody>
      </p:sp>
      <p:sp>
        <p:nvSpPr>
          <p:cNvPr id="21" name="Rectangle 20">
            <a:extLst>
              <a:ext uri="{FF2B5EF4-FFF2-40B4-BE49-F238E27FC236}">
                <a16:creationId xmlns:a16="http://schemas.microsoft.com/office/drawing/2014/main" id="{3B555E45-8FFF-440B-B082-7DB0E6C16448}"/>
              </a:ext>
            </a:extLst>
          </p:cNvPr>
          <p:cNvSpPr>
            <a:spLocks noChangeArrowheads="1"/>
          </p:cNvSpPr>
          <p:nvPr/>
        </p:nvSpPr>
        <p:spPr bwMode="auto">
          <a:xfrm>
            <a:off x="8373471"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Revenue synergy*</a:t>
            </a:r>
          </a:p>
        </p:txBody>
      </p:sp>
      <p:cxnSp>
        <p:nvCxnSpPr>
          <p:cNvPr id="25" name="Connector: Elbow 24">
            <a:extLst>
              <a:ext uri="{FF2B5EF4-FFF2-40B4-BE49-F238E27FC236}">
                <a16:creationId xmlns:a16="http://schemas.microsoft.com/office/drawing/2014/main" id="{488E2224-9E6C-4C31-A9EA-A2906707C620}"/>
              </a:ext>
            </a:extLst>
          </p:cNvPr>
          <p:cNvCxnSpPr>
            <a:stCxn id="20" idx="0"/>
            <a:endCxn id="11" idx="2"/>
          </p:cNvCxnSpPr>
          <p:nvPr/>
        </p:nvCxnSpPr>
        <p:spPr>
          <a:xfrm rot="5400000" flipH="1" flipV="1">
            <a:off x="4184687"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CE8E97F7-2078-4150-93CD-C332B3B54AFF}"/>
              </a:ext>
            </a:extLst>
          </p:cNvPr>
          <p:cNvCxnSpPr>
            <a:stCxn id="21" idx="0"/>
            <a:endCxn id="11" idx="2"/>
          </p:cNvCxnSpPr>
          <p:nvPr/>
        </p:nvCxnSpPr>
        <p:spPr>
          <a:xfrm rot="16200000" flipV="1">
            <a:off x="7246291"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7E74A36-1D9C-4602-B1F9-DF9B912D1001}"/>
              </a:ext>
            </a:extLst>
          </p:cNvPr>
          <p:cNvCxnSpPr>
            <a:stCxn id="19" idx="0"/>
            <a:endCxn id="21" idx="2"/>
          </p:cNvCxnSpPr>
          <p:nvPr/>
        </p:nvCxnSpPr>
        <p:spPr>
          <a:xfrm rot="16200000" flipV="1">
            <a:off x="9628433"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7C3ED90B-AF01-4473-9953-764A14B365B7}"/>
              </a:ext>
            </a:extLst>
          </p:cNvPr>
          <p:cNvCxnSpPr>
            <a:stCxn id="15" idx="0"/>
            <a:endCxn id="20" idx="2"/>
          </p:cNvCxnSpPr>
          <p:nvPr/>
        </p:nvCxnSpPr>
        <p:spPr>
          <a:xfrm rot="16200000" flipV="1">
            <a:off x="3505225"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6010084-8FED-476C-B280-D1EBC38D2F27}"/>
              </a:ext>
            </a:extLst>
          </p:cNvPr>
          <p:cNvCxnSpPr>
            <a:stCxn id="12" idx="0"/>
            <a:endCxn id="20" idx="2"/>
          </p:cNvCxnSpPr>
          <p:nvPr/>
        </p:nvCxnSpPr>
        <p:spPr>
          <a:xfrm rot="5400000" flipH="1" flipV="1">
            <a:off x="1801814" y="3631715"/>
            <a:ext cx="792956" cy="1704142"/>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D4DFD04-B0F5-41EA-9E4B-86EF7A4FD15D}"/>
              </a:ext>
            </a:extLst>
          </p:cNvPr>
          <p:cNvCxnSpPr>
            <a:stCxn id="17" idx="0"/>
            <a:endCxn id="21" idx="2"/>
          </p:cNvCxnSpPr>
          <p:nvPr/>
        </p:nvCxnSpPr>
        <p:spPr>
          <a:xfrm rot="5400000" flipH="1" flipV="1">
            <a:off x="7924290" y="3630984"/>
            <a:ext cx="792956" cy="1705605"/>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E4BFFDD-07CC-4E70-BE28-67B3FEA854A0}"/>
              </a:ext>
            </a:extLst>
          </p:cNvPr>
          <p:cNvCxnSpPr>
            <a:stCxn id="18" idx="0"/>
            <a:endCxn id="21" idx="2"/>
          </p:cNvCxnSpPr>
          <p:nvPr/>
        </p:nvCxnSpPr>
        <p:spPr>
          <a:xfrm flipH="1" flipV="1">
            <a:off x="9173571" y="4087308"/>
            <a:ext cx="1464"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1295EBC-5241-4A65-A1BA-CF0F938DAD59}"/>
              </a:ext>
            </a:extLst>
          </p:cNvPr>
          <p:cNvCxnSpPr>
            <a:stCxn id="14" idx="0"/>
            <a:endCxn id="20" idx="2"/>
          </p:cNvCxnSpPr>
          <p:nvPr/>
        </p:nvCxnSpPr>
        <p:spPr>
          <a:xfrm flipV="1">
            <a:off x="3050362" y="4087308"/>
            <a:ext cx="1"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953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84728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it is very important to create an integrated synergy baseline, which consolidates data from 4 major area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3" name="Rectangle 8">
            <a:extLst>
              <a:ext uri="{FF2B5EF4-FFF2-40B4-BE49-F238E27FC236}">
                <a16:creationId xmlns:a16="http://schemas.microsoft.com/office/drawing/2014/main" id="{6A58A710-D1D0-4A6C-85BD-4EA54ACE7961}"/>
              </a:ext>
            </a:extLst>
          </p:cNvPr>
          <p:cNvSpPr>
            <a:spLocks noChangeArrowheads="1"/>
          </p:cNvSpPr>
          <p:nvPr/>
        </p:nvSpPr>
        <p:spPr bwMode="gray">
          <a:xfrm>
            <a:off x="1884665" y="1725705"/>
            <a:ext cx="4141032" cy="1960968"/>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Market</a:t>
            </a:r>
          </a:p>
        </p:txBody>
      </p:sp>
      <p:sp>
        <p:nvSpPr>
          <p:cNvPr id="24" name="Rectangle 9">
            <a:extLst>
              <a:ext uri="{FF2B5EF4-FFF2-40B4-BE49-F238E27FC236}">
                <a16:creationId xmlns:a16="http://schemas.microsoft.com/office/drawing/2014/main" id="{83A78B16-9703-4387-8DAB-95E75DECE625}"/>
              </a:ext>
            </a:extLst>
          </p:cNvPr>
          <p:cNvSpPr>
            <a:spLocks noChangeArrowheads="1"/>
          </p:cNvSpPr>
          <p:nvPr/>
        </p:nvSpPr>
        <p:spPr bwMode="gray">
          <a:xfrm>
            <a:off x="6164790" y="1725705"/>
            <a:ext cx="4142545" cy="1960968"/>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r>
              <a:rPr lang="en-GB" sz="2400" b="1" dirty="0">
                <a:solidFill>
                  <a:srgbClr val="FFFFFF"/>
                </a:solidFill>
              </a:rPr>
              <a:t>Financial</a:t>
            </a:r>
          </a:p>
        </p:txBody>
      </p:sp>
      <p:sp>
        <p:nvSpPr>
          <p:cNvPr id="33" name="Rectangle 10">
            <a:extLst>
              <a:ext uri="{FF2B5EF4-FFF2-40B4-BE49-F238E27FC236}">
                <a16:creationId xmlns:a16="http://schemas.microsoft.com/office/drawing/2014/main" id="{D7415C9C-F9E7-4EEB-B877-71997BF53235}"/>
              </a:ext>
            </a:extLst>
          </p:cNvPr>
          <p:cNvSpPr>
            <a:spLocks noChangeArrowheads="1"/>
          </p:cNvSpPr>
          <p:nvPr/>
        </p:nvSpPr>
        <p:spPr bwMode="gray">
          <a:xfrm>
            <a:off x="1884665" y="3830242"/>
            <a:ext cx="4141032"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People</a:t>
            </a:r>
          </a:p>
        </p:txBody>
      </p:sp>
      <p:sp>
        <p:nvSpPr>
          <p:cNvPr id="34" name="Rectangle 11">
            <a:extLst>
              <a:ext uri="{FF2B5EF4-FFF2-40B4-BE49-F238E27FC236}">
                <a16:creationId xmlns:a16="http://schemas.microsoft.com/office/drawing/2014/main" id="{825849BA-5ADA-4C1A-B97D-4E74C8EB4734}"/>
              </a:ext>
            </a:extLst>
          </p:cNvPr>
          <p:cNvSpPr>
            <a:spLocks noChangeArrowheads="1"/>
          </p:cNvSpPr>
          <p:nvPr/>
        </p:nvSpPr>
        <p:spPr bwMode="gray">
          <a:xfrm>
            <a:off x="6164790" y="3830242"/>
            <a:ext cx="4142545"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Operational</a:t>
            </a:r>
          </a:p>
        </p:txBody>
      </p:sp>
      <p:sp>
        <p:nvSpPr>
          <p:cNvPr id="35" name="Rectangle 3">
            <a:extLst>
              <a:ext uri="{FF2B5EF4-FFF2-40B4-BE49-F238E27FC236}">
                <a16:creationId xmlns:a16="http://schemas.microsoft.com/office/drawing/2014/main" id="{43F3C4DD-A41A-4416-B902-BCACB2711B5D}"/>
              </a:ext>
            </a:extLst>
          </p:cNvPr>
          <p:cNvSpPr>
            <a:spLocks noChangeArrowheads="1"/>
          </p:cNvSpPr>
          <p:nvPr/>
        </p:nvSpPr>
        <p:spPr bwMode="gray">
          <a:xfrm>
            <a:off x="4492665" y="3156570"/>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r>
              <a:rPr lang="en-GB" sz="2000" b="1" dirty="0"/>
              <a:t>Integrated Synergy</a:t>
            </a:r>
          </a:p>
          <a:p>
            <a:pPr algn="ctr" eaLnBrk="0" fontAlgn="base" hangingPunct="0">
              <a:spcBef>
                <a:spcPct val="0"/>
              </a:spcBef>
              <a:spcAft>
                <a:spcPct val="0"/>
              </a:spcAft>
            </a:pPr>
            <a:r>
              <a:rPr lang="en-GB" sz="2000" b="1" dirty="0"/>
              <a:t>Baseline </a:t>
            </a:r>
          </a:p>
        </p:txBody>
      </p:sp>
      <p:sp>
        <p:nvSpPr>
          <p:cNvPr id="36" name="Arrow: Striped Right 35">
            <a:extLst>
              <a:ext uri="{FF2B5EF4-FFF2-40B4-BE49-F238E27FC236}">
                <a16:creationId xmlns:a16="http://schemas.microsoft.com/office/drawing/2014/main" id="{96C729B1-8189-449F-AE70-831AA75E9670}"/>
              </a:ext>
            </a:extLst>
          </p:cNvPr>
          <p:cNvSpPr/>
          <p:nvPr/>
        </p:nvSpPr>
        <p:spPr bwMode="auto">
          <a:xfrm>
            <a:off x="1884665" y="5994324"/>
            <a:ext cx="533400" cy="409140"/>
          </a:xfrm>
          <a:prstGeom prst="stripedRightArrow">
            <a:avLst/>
          </a:prstGeom>
          <a:solidFill>
            <a:schemeClr val="tx1"/>
          </a:solid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ea typeface="+mn-ea"/>
              <a:cs typeface="Times New Roman" pitchFamily="18" charset="0"/>
            </a:endParaRPr>
          </a:p>
        </p:txBody>
      </p:sp>
      <p:sp>
        <p:nvSpPr>
          <p:cNvPr id="37" name="TextBox 36">
            <a:extLst>
              <a:ext uri="{FF2B5EF4-FFF2-40B4-BE49-F238E27FC236}">
                <a16:creationId xmlns:a16="http://schemas.microsoft.com/office/drawing/2014/main" id="{0050B5B9-9419-4EB5-AFFD-9604F13911A3}"/>
              </a:ext>
            </a:extLst>
          </p:cNvPr>
          <p:cNvSpPr txBox="1"/>
          <p:nvPr/>
        </p:nvSpPr>
        <p:spPr>
          <a:xfrm>
            <a:off x="2548275" y="6014228"/>
            <a:ext cx="7759060" cy="369332"/>
          </a:xfrm>
          <a:prstGeom prst="rect">
            <a:avLst/>
          </a:prstGeom>
          <a:noFill/>
        </p:spPr>
        <p:txBody>
          <a:bodyPr wrap="square" rtlCol="0">
            <a:spAutoFit/>
          </a:bodyPr>
          <a:lstStyle/>
          <a:p>
            <a:pPr>
              <a:spcBef>
                <a:spcPts val="400"/>
              </a:spcBef>
              <a:spcAft>
                <a:spcPts val="400"/>
              </a:spcAft>
            </a:pPr>
            <a:r>
              <a:rPr lang="en-US" b="1" dirty="0"/>
              <a:t>Progress will be measured based on the integrated synergy baseline </a:t>
            </a:r>
          </a:p>
        </p:txBody>
      </p:sp>
    </p:spTree>
    <p:extLst>
      <p:ext uri="{BB962C8B-B14F-4D97-AF65-F5344CB8AC3E}">
        <p14:creationId xmlns:p14="http://schemas.microsoft.com/office/powerpoint/2010/main" val="1632976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0368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Market data that we will use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lumMod val="50000"/>
                <a:lumOff val="50000"/>
              </a:schemeClr>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0938EA4C-448B-4144-98CE-61772865CB06}"/>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product</a:t>
            </a:r>
          </a:p>
        </p:txBody>
      </p:sp>
      <p:sp>
        <p:nvSpPr>
          <p:cNvPr id="21" name="TextBox 20">
            <a:extLst>
              <a:ext uri="{FF2B5EF4-FFF2-40B4-BE49-F238E27FC236}">
                <a16:creationId xmlns:a16="http://schemas.microsoft.com/office/drawing/2014/main" id="{C81CE789-B10E-4552-AB69-D015BDABE2A0}"/>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Segment</a:t>
            </a:r>
          </a:p>
        </p:txBody>
      </p:sp>
      <p:sp>
        <p:nvSpPr>
          <p:cNvPr id="22" name="TextBox 21">
            <a:extLst>
              <a:ext uri="{FF2B5EF4-FFF2-40B4-BE49-F238E27FC236}">
                <a16:creationId xmlns:a16="http://schemas.microsoft.com/office/drawing/2014/main" id="{5C14377A-210D-45F9-BBDC-22B2F46545E4}"/>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geography</a:t>
            </a:r>
          </a:p>
        </p:txBody>
      </p:sp>
      <p:pic>
        <p:nvPicPr>
          <p:cNvPr id="25" name="Graphic 24" descr="Pie chart">
            <a:extLst>
              <a:ext uri="{FF2B5EF4-FFF2-40B4-BE49-F238E27FC236}">
                <a16:creationId xmlns:a16="http://schemas.microsoft.com/office/drawing/2014/main" id="{12E1BCB1-FEE8-4321-BC07-9D7821C1DA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0777" y="3569587"/>
            <a:ext cx="1174423" cy="1174423"/>
          </a:xfrm>
          <a:prstGeom prst="rect">
            <a:avLst/>
          </a:prstGeom>
        </p:spPr>
      </p:pic>
      <p:pic>
        <p:nvPicPr>
          <p:cNvPr id="26" name="Graphic 25" descr="Earth Globe Americas">
            <a:extLst>
              <a:ext uri="{FF2B5EF4-FFF2-40B4-BE49-F238E27FC236}">
                <a16:creationId xmlns:a16="http://schemas.microsoft.com/office/drawing/2014/main" id="{326A0B57-285D-4FEF-9AF7-9932CA4650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64067" y="3569587"/>
            <a:ext cx="1174423" cy="1174423"/>
          </a:xfrm>
          <a:prstGeom prst="rect">
            <a:avLst/>
          </a:prstGeom>
        </p:spPr>
      </p:pic>
      <p:pic>
        <p:nvPicPr>
          <p:cNvPr id="27" name="Graphic 26" descr="Hierarchy">
            <a:extLst>
              <a:ext uri="{FF2B5EF4-FFF2-40B4-BE49-F238E27FC236}">
                <a16:creationId xmlns:a16="http://schemas.microsoft.com/office/drawing/2014/main" id="{CC587325-DFD4-4090-A511-9C4507D32E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53510" y="3569587"/>
            <a:ext cx="1174423" cy="1174423"/>
          </a:xfrm>
          <a:prstGeom prst="rect">
            <a:avLst/>
          </a:prstGeom>
        </p:spPr>
      </p:pic>
    </p:spTree>
    <p:extLst>
      <p:ext uri="{BB962C8B-B14F-4D97-AF65-F5344CB8AC3E}">
        <p14:creationId xmlns:p14="http://schemas.microsoft.com/office/powerpoint/2010/main" val="30260693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2389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Financi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3" name="Rectangle 22">
            <a:extLst>
              <a:ext uri="{FF2B5EF4-FFF2-40B4-BE49-F238E27FC236}">
                <a16:creationId xmlns:a16="http://schemas.microsoft.com/office/drawing/2014/main" id="{E3B56CFF-26A1-4B38-B5E0-13BDBF38A5B7}"/>
              </a:ext>
            </a:extLst>
          </p:cNvPr>
          <p:cNvSpPr>
            <a:spLocks noChangeArrowheads="1"/>
          </p:cNvSpPr>
          <p:nvPr/>
        </p:nvSpPr>
        <p:spPr bwMode="auto">
          <a:xfrm>
            <a:off x="65462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24" name="Rectangle 23">
            <a:extLst>
              <a:ext uri="{FF2B5EF4-FFF2-40B4-BE49-F238E27FC236}">
                <a16:creationId xmlns:a16="http://schemas.microsoft.com/office/drawing/2014/main" id="{087476BE-2395-4F9D-9267-14CBF0160BB5}"/>
              </a:ext>
            </a:extLst>
          </p:cNvPr>
          <p:cNvSpPr>
            <a:spLocks noChangeArrowheads="1"/>
          </p:cNvSpPr>
          <p:nvPr/>
        </p:nvSpPr>
        <p:spPr bwMode="auto">
          <a:xfrm>
            <a:off x="2354076"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usiness Unit or per function</a:t>
            </a:r>
          </a:p>
        </p:txBody>
      </p:sp>
      <p:sp>
        <p:nvSpPr>
          <p:cNvPr id="28" name="Rectangle 27">
            <a:extLst>
              <a:ext uri="{FF2B5EF4-FFF2-40B4-BE49-F238E27FC236}">
                <a16:creationId xmlns:a16="http://schemas.microsoft.com/office/drawing/2014/main" id="{DEC83FC6-5D52-4F79-B922-73BB0DCE703B}"/>
              </a:ext>
            </a:extLst>
          </p:cNvPr>
          <p:cNvSpPr>
            <a:spLocks noChangeArrowheads="1"/>
          </p:cNvSpPr>
          <p:nvPr/>
        </p:nvSpPr>
        <p:spPr bwMode="auto">
          <a:xfrm>
            <a:off x="4056445"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29" name="Rectangle 28">
            <a:extLst>
              <a:ext uri="{FF2B5EF4-FFF2-40B4-BE49-F238E27FC236}">
                <a16:creationId xmlns:a16="http://schemas.microsoft.com/office/drawing/2014/main" id="{94A52C23-54B9-4B80-9F82-5E154C0C0947}"/>
              </a:ext>
            </a:extLst>
          </p:cNvPr>
          <p:cNvSpPr>
            <a:spLocks noChangeArrowheads="1"/>
          </p:cNvSpPr>
          <p:nvPr/>
        </p:nvSpPr>
        <p:spPr bwMode="auto">
          <a:xfrm>
            <a:off x="6763298"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30" name="Rectangle 29">
            <a:extLst>
              <a:ext uri="{FF2B5EF4-FFF2-40B4-BE49-F238E27FC236}">
                <a16:creationId xmlns:a16="http://schemas.microsoft.com/office/drawing/2014/main" id="{B2487C00-9F6A-4B64-BE89-F64A1924321B}"/>
              </a:ext>
            </a:extLst>
          </p:cNvPr>
          <p:cNvSpPr>
            <a:spLocks noChangeArrowheads="1"/>
          </p:cNvSpPr>
          <p:nvPr/>
        </p:nvSpPr>
        <p:spPr bwMode="auto">
          <a:xfrm>
            <a:off x="846858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function or cost center</a:t>
            </a:r>
          </a:p>
        </p:txBody>
      </p:sp>
      <p:sp>
        <p:nvSpPr>
          <p:cNvPr id="31" name="Rectangle 30">
            <a:extLst>
              <a:ext uri="{FF2B5EF4-FFF2-40B4-BE49-F238E27FC236}">
                <a16:creationId xmlns:a16="http://schemas.microsoft.com/office/drawing/2014/main" id="{26714592-7C3C-4E4C-BA51-DFEC678C5971}"/>
              </a:ext>
            </a:extLst>
          </p:cNvPr>
          <p:cNvSpPr>
            <a:spLocks noChangeArrowheads="1"/>
          </p:cNvSpPr>
          <p:nvPr/>
        </p:nvSpPr>
        <p:spPr bwMode="auto">
          <a:xfrm>
            <a:off x="10168036"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32" name="Rectangle 31">
            <a:extLst>
              <a:ext uri="{FF2B5EF4-FFF2-40B4-BE49-F238E27FC236}">
                <a16:creationId xmlns:a16="http://schemas.microsoft.com/office/drawing/2014/main" id="{C8F220CA-39D6-42F0-A32B-725C34FBC2A3}"/>
              </a:ext>
            </a:extLst>
          </p:cNvPr>
          <p:cNvSpPr>
            <a:spLocks noChangeArrowheads="1"/>
          </p:cNvSpPr>
          <p:nvPr/>
        </p:nvSpPr>
        <p:spPr bwMode="auto">
          <a:xfrm>
            <a:off x="1594872"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Revenue</a:t>
            </a:r>
          </a:p>
        </p:txBody>
      </p:sp>
      <p:sp>
        <p:nvSpPr>
          <p:cNvPr id="33" name="Rectangle 32">
            <a:extLst>
              <a:ext uri="{FF2B5EF4-FFF2-40B4-BE49-F238E27FC236}">
                <a16:creationId xmlns:a16="http://schemas.microsoft.com/office/drawing/2014/main" id="{BDA71CC6-4F78-401C-A98F-A7ACDC72204D}"/>
              </a:ext>
            </a:extLst>
          </p:cNvPr>
          <p:cNvSpPr>
            <a:spLocks noChangeArrowheads="1"/>
          </p:cNvSpPr>
          <p:nvPr/>
        </p:nvSpPr>
        <p:spPr bwMode="auto">
          <a:xfrm>
            <a:off x="7706463"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Cost</a:t>
            </a:r>
          </a:p>
        </p:txBody>
      </p:sp>
      <p:cxnSp>
        <p:nvCxnSpPr>
          <p:cNvPr id="34" name="Connector: Elbow 33">
            <a:extLst>
              <a:ext uri="{FF2B5EF4-FFF2-40B4-BE49-F238E27FC236}">
                <a16:creationId xmlns:a16="http://schemas.microsoft.com/office/drawing/2014/main" id="{2368DB62-D71D-40AF-86C0-D578873AB099}"/>
              </a:ext>
            </a:extLst>
          </p:cNvPr>
          <p:cNvCxnSpPr>
            <a:stCxn id="32" idx="2"/>
            <a:endCxn id="28" idx="0"/>
          </p:cNvCxnSpPr>
          <p:nvPr/>
        </p:nvCxnSpPr>
        <p:spPr>
          <a:xfrm rot="16200000" flipH="1">
            <a:off x="3377005"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D6C2A509-55A9-41DC-8FFE-6C90E73D1AB6}"/>
              </a:ext>
            </a:extLst>
          </p:cNvPr>
          <p:cNvCxnSpPr>
            <a:stCxn id="33" idx="2"/>
            <a:endCxn id="31" idx="0"/>
          </p:cNvCxnSpPr>
          <p:nvPr/>
        </p:nvCxnSpPr>
        <p:spPr>
          <a:xfrm rot="16200000" flipH="1">
            <a:off x="9488596"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9F632AB6-EBB2-452D-85CC-B5F961043D49}"/>
              </a:ext>
            </a:extLst>
          </p:cNvPr>
          <p:cNvCxnSpPr>
            <a:stCxn id="33" idx="2"/>
            <a:endCxn id="29" idx="0"/>
          </p:cNvCxnSpPr>
          <p:nvPr/>
        </p:nvCxnSpPr>
        <p:spPr>
          <a:xfrm rot="5400000">
            <a:off x="7787688" y="2972140"/>
            <a:ext cx="1078559" cy="170236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95BFACA6-1B3A-4E7B-B856-56EE3E75AB49}"/>
              </a:ext>
            </a:extLst>
          </p:cNvPr>
          <p:cNvCxnSpPr>
            <a:stCxn id="32" idx="2"/>
            <a:endCxn id="23" idx="0"/>
          </p:cNvCxnSpPr>
          <p:nvPr/>
        </p:nvCxnSpPr>
        <p:spPr>
          <a:xfrm rot="5400000">
            <a:off x="1676827" y="2972870"/>
            <a:ext cx="1078559" cy="170090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28D4465-A415-4777-8C4D-47DBBFF9F937}"/>
              </a:ext>
            </a:extLst>
          </p:cNvPr>
          <p:cNvCxnSpPr>
            <a:stCxn id="32" idx="2"/>
            <a:endCxn id="24" idx="0"/>
          </p:cNvCxnSpPr>
          <p:nvPr/>
        </p:nvCxnSpPr>
        <p:spPr>
          <a:xfrm>
            <a:off x="3066560" y="3284045"/>
            <a:ext cx="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561E8B1-C763-4669-820F-03E30B479ADD}"/>
              </a:ext>
            </a:extLst>
          </p:cNvPr>
          <p:cNvCxnSpPr>
            <a:stCxn id="33" idx="2"/>
            <a:endCxn id="30" idx="0"/>
          </p:cNvCxnSpPr>
          <p:nvPr/>
        </p:nvCxnSpPr>
        <p:spPr>
          <a:xfrm>
            <a:off x="9178151" y="3284045"/>
            <a:ext cx="146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893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6495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operation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5" name="TextBox 24">
            <a:extLst>
              <a:ext uri="{FF2B5EF4-FFF2-40B4-BE49-F238E27FC236}">
                <a16:creationId xmlns:a16="http://schemas.microsoft.com/office/drawing/2014/main" id="{5DE18B08-ABE4-482E-B638-D4D4B890B903}"/>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Efficiency &amp; </a:t>
            </a:r>
            <a:br>
              <a:rPr lang="en-US" b="1" dirty="0">
                <a:solidFill>
                  <a:schemeClr val="accent1"/>
                </a:solidFill>
              </a:rPr>
            </a:br>
            <a:r>
              <a:rPr lang="en-US" b="1" dirty="0">
                <a:solidFill>
                  <a:schemeClr val="accent1"/>
                </a:solidFill>
              </a:rPr>
              <a:t>effectiveness metrics</a:t>
            </a:r>
          </a:p>
          <a:p>
            <a:pPr algn="ctr">
              <a:spcBef>
                <a:spcPts val="400"/>
              </a:spcBef>
              <a:spcAft>
                <a:spcPts val="400"/>
              </a:spcAft>
            </a:pPr>
            <a:endParaRPr lang="en-US" b="1" dirty="0">
              <a:solidFill>
                <a:schemeClr val="accent1"/>
              </a:solidFill>
            </a:endParaRPr>
          </a:p>
        </p:txBody>
      </p:sp>
      <p:sp>
        <p:nvSpPr>
          <p:cNvPr id="26" name="TextBox 25">
            <a:extLst>
              <a:ext uri="{FF2B5EF4-FFF2-40B4-BE49-F238E27FC236}">
                <a16:creationId xmlns:a16="http://schemas.microsoft.com/office/drawing/2014/main" id="{9CC8E9E9-E02A-49B5-98C9-C65455452A4F}"/>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Inventory</a:t>
            </a:r>
          </a:p>
          <a:p>
            <a:pPr algn="ctr">
              <a:spcBef>
                <a:spcPts val="400"/>
              </a:spcBef>
              <a:spcAft>
                <a:spcPts val="400"/>
              </a:spcAft>
            </a:pPr>
            <a:endParaRPr lang="en-US" b="1" dirty="0">
              <a:solidFill>
                <a:schemeClr val="accent1"/>
              </a:solidFill>
            </a:endParaRPr>
          </a:p>
        </p:txBody>
      </p:sp>
      <p:sp>
        <p:nvSpPr>
          <p:cNvPr id="27" name="TextBox 26">
            <a:extLst>
              <a:ext uri="{FF2B5EF4-FFF2-40B4-BE49-F238E27FC236}">
                <a16:creationId xmlns:a16="http://schemas.microsoft.com/office/drawing/2014/main" id="{10D8FB64-F04A-46C3-823D-2BF5863CA59F}"/>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Number of units produced</a:t>
            </a:r>
          </a:p>
          <a:p>
            <a:pPr algn="ctr">
              <a:spcBef>
                <a:spcPts val="400"/>
              </a:spcBef>
              <a:spcAft>
                <a:spcPts val="400"/>
              </a:spcAft>
            </a:pPr>
            <a:endParaRPr lang="en-US" b="1" dirty="0">
              <a:solidFill>
                <a:schemeClr val="accent1"/>
              </a:solidFill>
            </a:endParaRPr>
          </a:p>
        </p:txBody>
      </p:sp>
      <p:pic>
        <p:nvPicPr>
          <p:cNvPr id="43" name="Graphic 42" descr="Gauge">
            <a:extLst>
              <a:ext uri="{FF2B5EF4-FFF2-40B4-BE49-F238E27FC236}">
                <a16:creationId xmlns:a16="http://schemas.microsoft.com/office/drawing/2014/main" id="{A106B7CA-F4C7-48C2-8183-C8A05B9CEB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62943" y="3557495"/>
            <a:ext cx="1155556" cy="1155558"/>
          </a:xfrm>
          <a:prstGeom prst="rect">
            <a:avLst/>
          </a:prstGeom>
        </p:spPr>
      </p:pic>
      <p:pic>
        <p:nvPicPr>
          <p:cNvPr id="44" name="Graphic 43" descr="Box trolley">
            <a:extLst>
              <a:ext uri="{FF2B5EF4-FFF2-40B4-BE49-F238E27FC236}">
                <a16:creationId xmlns:a16="http://schemas.microsoft.com/office/drawing/2014/main" id="{7371E77D-7414-4E26-993F-286AE03B80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0210" y="3557495"/>
            <a:ext cx="1155556" cy="1155558"/>
          </a:xfrm>
          <a:prstGeom prst="rect">
            <a:avLst/>
          </a:prstGeom>
        </p:spPr>
      </p:pic>
      <p:pic>
        <p:nvPicPr>
          <p:cNvPr id="45" name="Graphic 44" descr="Gears">
            <a:extLst>
              <a:ext uri="{FF2B5EF4-FFF2-40B4-BE49-F238E27FC236}">
                <a16:creationId xmlns:a16="http://schemas.microsoft.com/office/drawing/2014/main" id="{370FD0D5-11A3-4460-97CE-B27B915A8D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73500" y="3557495"/>
            <a:ext cx="1155556" cy="1155558"/>
          </a:xfrm>
          <a:prstGeom prst="rect">
            <a:avLst/>
          </a:prstGeom>
        </p:spPr>
      </p:pic>
    </p:spTree>
    <p:extLst>
      <p:ext uri="{BB962C8B-B14F-4D97-AF65-F5344CB8AC3E}">
        <p14:creationId xmlns:p14="http://schemas.microsoft.com/office/powerpoint/2010/main" val="28026371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7141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People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B636933E-956C-4CE1-8B55-9C1CC7ABCD05}"/>
              </a:ext>
            </a:extLst>
          </p:cNvPr>
          <p:cNvSpPr txBox="1"/>
          <p:nvPr/>
        </p:nvSpPr>
        <p:spPr>
          <a:xfrm>
            <a:off x="514350" y="1607127"/>
            <a:ext cx="11072813" cy="2031325"/>
          </a:xfrm>
          <a:prstGeom prst="rect">
            <a:avLst/>
          </a:prstGeom>
          <a:noFill/>
        </p:spPr>
        <p:txBody>
          <a:bodyPr wrap="square" rtlCol="0">
            <a:spAutoFit/>
          </a:bodyPr>
          <a:lstStyle/>
          <a:p>
            <a:r>
              <a:rPr lang="en-US" b="1" dirty="0"/>
              <a:t>Full time employees (FTE), part time employees, contractors and vacancies by</a:t>
            </a:r>
            <a:r>
              <a:rPr lang="en-US" dirty="0"/>
              <a:t>:</a:t>
            </a:r>
          </a:p>
          <a:p>
            <a:pPr marL="115888" indent="-115888">
              <a:buFont typeface="Arial" panose="020B0604020202020204" pitchFamily="34" charset="0"/>
              <a:buChar char="•"/>
            </a:pPr>
            <a:r>
              <a:rPr lang="en-US" dirty="0"/>
              <a:t>Business unit</a:t>
            </a:r>
          </a:p>
          <a:p>
            <a:pPr marL="115888" indent="-115888">
              <a:buFont typeface="Arial" panose="020B0604020202020204" pitchFamily="34" charset="0"/>
              <a:buChar char="•"/>
            </a:pPr>
            <a:r>
              <a:rPr lang="en-US" dirty="0"/>
              <a:t>Team</a:t>
            </a:r>
          </a:p>
          <a:p>
            <a:pPr marL="115888" indent="-115888">
              <a:buFont typeface="Arial" panose="020B0604020202020204" pitchFamily="34" charset="0"/>
              <a:buChar char="•"/>
            </a:pPr>
            <a:r>
              <a:rPr lang="en-US" dirty="0"/>
              <a:t>Location</a:t>
            </a:r>
          </a:p>
          <a:p>
            <a:pPr marL="115888" indent="-115888">
              <a:buFont typeface="Arial" panose="020B0604020202020204" pitchFamily="34" charset="0"/>
              <a:buChar char="•"/>
            </a:pPr>
            <a:r>
              <a:rPr lang="en-US" dirty="0"/>
              <a:t>Function</a:t>
            </a:r>
          </a:p>
          <a:p>
            <a:pPr marL="285750" indent="-115888">
              <a:buFont typeface="Arial" panose="020B0604020202020204" pitchFamily="34" charset="0"/>
              <a:buChar char="•"/>
            </a:pPr>
            <a:endParaRPr lang="en-US" dirty="0"/>
          </a:p>
          <a:p>
            <a:r>
              <a:rPr lang="en-US" b="1" dirty="0"/>
              <a:t>Remuneration, benefits, and redundancy costs</a:t>
            </a:r>
          </a:p>
        </p:txBody>
      </p:sp>
    </p:spTree>
    <p:extLst>
      <p:ext uri="{BB962C8B-B14F-4D97-AF65-F5344CB8AC3E}">
        <p14:creationId xmlns:p14="http://schemas.microsoft.com/office/powerpoint/2010/main" val="799750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2719483"/>
            <a:ext cx="3474136" cy="85996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s 1, 2 and 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40839232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02886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9</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5739504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35716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t is very important to be as clear as possible on the synergy targets we need to re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1" name="TextBox 20">
            <a:extLst>
              <a:ext uri="{FF2B5EF4-FFF2-40B4-BE49-F238E27FC236}">
                <a16:creationId xmlns:a16="http://schemas.microsoft.com/office/drawing/2014/main" id="{4173BFED-B51A-41E5-A272-E41B17D4062C}"/>
              </a:ext>
            </a:extLst>
          </p:cNvPr>
          <p:cNvSpPr txBox="1"/>
          <p:nvPr/>
        </p:nvSpPr>
        <p:spPr>
          <a:xfrm>
            <a:off x="1267692" y="2621172"/>
            <a:ext cx="9656618" cy="2616101"/>
          </a:xfrm>
          <a:prstGeom prst="rect">
            <a:avLst/>
          </a:prstGeom>
          <a:noFill/>
        </p:spPr>
        <p:txBody>
          <a:bodyPr wrap="square" rtlCol="0" anchor="ctr">
            <a:spAutoFit/>
          </a:bodyPr>
          <a:lstStyle/>
          <a:p>
            <a:pPr algn="ctr" defTabSz="326517">
              <a:defRPr/>
            </a:pPr>
            <a:r>
              <a:rPr lang="en-US" sz="6000" b="1" kern="0" dirty="0"/>
              <a:t>Complexity is the enemy of execution</a:t>
            </a:r>
            <a:endParaRPr lang="en-US" sz="4800" b="1" kern="0" dirty="0"/>
          </a:p>
          <a:p>
            <a:pPr algn="ctr" defTabSz="326517">
              <a:defRPr/>
            </a:pPr>
            <a:r>
              <a:rPr lang="en-US" sz="4400" b="1" kern="0" dirty="0">
                <a:solidFill>
                  <a:schemeClr val="tx1">
                    <a:lumMod val="50000"/>
                    <a:lumOff val="50000"/>
                  </a:schemeClr>
                </a:solidFill>
              </a:rPr>
              <a:t>												           Tony Robbins</a:t>
            </a:r>
          </a:p>
        </p:txBody>
      </p:sp>
      <p:sp>
        <p:nvSpPr>
          <p:cNvPr id="24" name="Freeform: Shape 23">
            <a:extLst>
              <a:ext uri="{FF2B5EF4-FFF2-40B4-BE49-F238E27FC236}">
                <a16:creationId xmlns:a16="http://schemas.microsoft.com/office/drawing/2014/main" id="{CB6B6D9F-4232-4B4C-A440-89B76EEB448F}"/>
              </a:ext>
            </a:extLst>
          </p:cNvPr>
          <p:cNvSpPr/>
          <p:nvPr/>
        </p:nvSpPr>
        <p:spPr>
          <a:xfrm>
            <a:off x="10708977" y="5331436"/>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Freeform: Shape 34">
            <a:extLst>
              <a:ext uri="{FF2B5EF4-FFF2-40B4-BE49-F238E27FC236}">
                <a16:creationId xmlns:a16="http://schemas.microsoft.com/office/drawing/2014/main" id="{4BFC86E4-7C7E-4289-885E-78ECBEE76BFF}"/>
              </a:ext>
            </a:extLst>
          </p:cNvPr>
          <p:cNvSpPr/>
          <p:nvPr/>
        </p:nvSpPr>
        <p:spPr>
          <a:xfrm flipH="1">
            <a:off x="822856" y="1976130"/>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Tree>
    <p:extLst>
      <p:ext uri="{BB962C8B-B14F-4D97-AF65-F5344CB8AC3E}">
        <p14:creationId xmlns:p14="http://schemas.microsoft.com/office/powerpoint/2010/main" val="9318231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2361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synergy target is $140M [insert your own number] over the next 2 yea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graphicFrame>
        <p:nvGraphicFramePr>
          <p:cNvPr id="8" name="Chart 7">
            <a:extLst>
              <a:ext uri="{FF2B5EF4-FFF2-40B4-BE49-F238E27FC236}">
                <a16:creationId xmlns:a16="http://schemas.microsoft.com/office/drawing/2014/main" id="{4F0F406A-8171-49B9-B7BC-F74B802E0646}"/>
              </a:ext>
            </a:extLst>
          </p:cNvPr>
          <p:cNvGraphicFramePr/>
          <p:nvPr>
            <p:extLst>
              <p:ext uri="{D42A27DB-BD31-4B8C-83A1-F6EECF244321}">
                <p14:modId xmlns:p14="http://schemas.microsoft.com/office/powerpoint/2010/main" val="4093737334"/>
              </p:ext>
            </p:extLst>
          </p:nvPr>
        </p:nvGraphicFramePr>
        <p:xfrm>
          <a:off x="604837" y="2192182"/>
          <a:ext cx="10982326" cy="4390562"/>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597241"/>
            <a:ext cx="10982326" cy="503408"/>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Company X wants to achieve </a:t>
            </a:r>
          </a:p>
          <a:p>
            <a:pPr marL="133350" indent="-133350" algn="ctr">
              <a:lnSpc>
                <a:spcPct val="106000"/>
              </a:lnSpc>
              <a:buClr>
                <a:schemeClr val="tx1"/>
              </a:buClr>
            </a:pPr>
            <a:r>
              <a:rPr lang="en-GB" sz="1600" b="1" dirty="0">
                <a:solidFill>
                  <a:schemeClr val="tx2"/>
                </a:solidFill>
              </a:rPr>
              <a:t>over the next 2 years ($M) </a:t>
            </a:r>
          </a:p>
        </p:txBody>
      </p:sp>
    </p:spTree>
    <p:extLst>
      <p:ext uri="{BB962C8B-B14F-4D97-AF65-F5344CB8AC3E}">
        <p14:creationId xmlns:p14="http://schemas.microsoft.com/office/powerpoint/2010/main" val="6364488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5816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reakdown of our synergy target per fun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727725"/>
            <a:ext cx="10982326" cy="242439"/>
          </a:xfrm>
          <a:prstGeom prst="rect">
            <a:avLst/>
          </a:prstGeom>
          <a:noFill/>
          <a:ln w="9525" algn="ctr">
            <a:noFill/>
            <a:miter lim="800000"/>
            <a:headEnd/>
            <a:tailEnd/>
          </a:ln>
        </p:spPr>
        <p:txBody>
          <a:bodyPr wrap="square" lIns="0" tIns="0" rIns="0" bIns="0" anchor="ctr">
            <a:spAutoFit/>
          </a:bodyPr>
          <a:lstStyle/>
          <a:p>
            <a:pPr marL="133350" indent="-133350" algn="ctr">
              <a:lnSpc>
                <a:spcPct val="106000"/>
              </a:lnSpc>
              <a:buClr>
                <a:schemeClr val="tx1"/>
              </a:buClr>
            </a:pPr>
            <a:r>
              <a:rPr lang="en-US" sz="1600" b="1" dirty="0">
                <a:solidFill>
                  <a:schemeClr val="tx2"/>
                </a:solidFill>
              </a:rPr>
              <a:t>Synergy Target per function ($M) </a:t>
            </a:r>
          </a:p>
        </p:txBody>
      </p:sp>
      <p:graphicFrame>
        <p:nvGraphicFramePr>
          <p:cNvPr id="10" name="Chart 9">
            <a:extLst>
              <a:ext uri="{FF2B5EF4-FFF2-40B4-BE49-F238E27FC236}">
                <a16:creationId xmlns:a16="http://schemas.microsoft.com/office/drawing/2014/main" id="{66CFC2E5-E6A3-4A05-A88C-DDB2F2C94A0D}"/>
              </a:ext>
            </a:extLst>
          </p:cNvPr>
          <p:cNvGraphicFramePr/>
          <p:nvPr>
            <p:extLst>
              <p:ext uri="{D42A27DB-BD31-4B8C-83A1-F6EECF244321}">
                <p14:modId xmlns:p14="http://schemas.microsoft.com/office/powerpoint/2010/main" val="3559187418"/>
              </p:ext>
            </p:extLst>
          </p:nvPr>
        </p:nvGraphicFramePr>
        <p:xfrm>
          <a:off x="362819" y="1854389"/>
          <a:ext cx="11224344" cy="458402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956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311897"/>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0</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5729179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61617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600" b="1" dirty="0">
              <a:solidFill>
                <a:schemeClr val="tx2"/>
              </a:solidFill>
            </a:endParaRP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buFont typeface="Arial" panose="020B0604020202020204" pitchFamily="34" charset="0"/>
              <a:buChar char="•"/>
            </a:pPr>
            <a:endParaRPr lang="en-AU" sz="1600" b="1" dirty="0">
              <a:solidFill>
                <a:schemeClr val="tx2"/>
              </a:solidFill>
            </a:endParaRPr>
          </a:p>
        </p:txBody>
      </p:sp>
      <p:grpSp>
        <p:nvGrpSpPr>
          <p:cNvPr id="4" name="Group 3">
            <a:extLst>
              <a:ext uri="{FF2B5EF4-FFF2-40B4-BE49-F238E27FC236}">
                <a16:creationId xmlns:a16="http://schemas.microsoft.com/office/drawing/2014/main" id="{9ECED568-17C9-4DD4-9D97-836414E0B382}"/>
              </a:ext>
            </a:extLst>
          </p:cNvPr>
          <p:cNvGrpSpPr/>
          <p:nvPr/>
        </p:nvGrpSpPr>
        <p:grpSpPr>
          <a:xfrm>
            <a:off x="2759596" y="3543300"/>
            <a:ext cx="2086729" cy="1219200"/>
            <a:chOff x="1828800" y="3463315"/>
            <a:chExt cx="2086729" cy="1219200"/>
          </a:xfrm>
          <a:solidFill>
            <a:schemeClr val="bg1">
              <a:lumMod val="50000"/>
              <a:alpha val="67000"/>
            </a:schemeClr>
          </a:solidFill>
        </p:grpSpPr>
        <p:sp>
          <p:nvSpPr>
            <p:cNvPr id="34" name="Oval 33">
              <a:extLst>
                <a:ext uri="{FF2B5EF4-FFF2-40B4-BE49-F238E27FC236}">
                  <a16:creationId xmlns:a16="http://schemas.microsoft.com/office/drawing/2014/main" id="{92D96A28-27F0-411D-80C4-A005987FFE93}"/>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557A673F-CEC2-4E11-919E-9D7A6755160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5" name="Graphic 4" descr="Upward trend outline">
            <a:extLst>
              <a:ext uri="{FF2B5EF4-FFF2-40B4-BE49-F238E27FC236}">
                <a16:creationId xmlns:a16="http://schemas.microsoft.com/office/drawing/2014/main" id="{6A8C82E0-D461-4F54-90EE-B985A10CF5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11949" y="3375809"/>
            <a:ext cx="1554182" cy="1554182"/>
          </a:xfrm>
          <a:prstGeom prst="rect">
            <a:avLst/>
          </a:prstGeom>
        </p:spPr>
      </p:pic>
    </p:spTree>
    <p:extLst>
      <p:ext uri="{BB962C8B-B14F-4D97-AF65-F5344CB8AC3E}">
        <p14:creationId xmlns:p14="http://schemas.microsoft.com/office/powerpoint/2010/main" val="1662162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GB" sz="1600" dirty="0">
                <a:solidFill>
                  <a:schemeClr val="tx1"/>
                </a:solidFill>
              </a:rPr>
              <a:t>The main objective of these initiatives facilitating the integration is to help the 2 organizations merge smoothly. </a:t>
            </a:r>
          </a:p>
          <a:p>
            <a:pPr>
              <a:spcBef>
                <a:spcPts val="500"/>
              </a:spcBef>
              <a:spcAft>
                <a:spcPts val="500"/>
              </a:spcAft>
            </a:pPr>
            <a:r>
              <a:rPr lang="en-GB" sz="1600" dirty="0">
                <a:solidFill>
                  <a:schemeClr val="tx1"/>
                </a:solidFill>
              </a:rPr>
              <a:t>For example, creating a welcome day for the employees of the acquired company will not directly capture synergy. However, it will help the employees to transition quickly into the new organization. </a:t>
            </a:r>
          </a:p>
          <a:p>
            <a:pPr>
              <a:spcBef>
                <a:spcPts val="500"/>
              </a:spcBef>
              <a:spcAft>
                <a:spcPts val="500"/>
              </a:spcAft>
            </a:pPr>
            <a:r>
              <a:rPr lang="en-GB" sz="1600" dirty="0">
                <a:solidFill>
                  <a:schemeClr val="tx1"/>
                </a:solidFill>
              </a:rPr>
              <a:t>The quicker the transition, the sooner we can expect to create the value expected by the shareholders.</a:t>
            </a: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US" sz="1600" dirty="0">
                <a:solidFill>
                  <a:schemeClr val="tx1"/>
                </a:solidFill>
              </a:rPr>
              <a:t>The main objective of these initiatives is to capture cost and / or revenue synergies in order to increase the profit of our combined organization. In other words, 1 + 1 should equal 3, not 2.</a:t>
            </a:r>
          </a:p>
        </p:txBody>
      </p:sp>
    </p:spTree>
    <p:extLst>
      <p:ext uri="{BB962C8B-B14F-4D97-AF65-F5344CB8AC3E}">
        <p14:creationId xmlns:p14="http://schemas.microsoft.com/office/powerpoint/2010/main" val="1869125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040504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that the most common functions where synergies can be achieved ar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8" name="Rectangle 7">
            <a:extLst>
              <a:ext uri="{FF2B5EF4-FFF2-40B4-BE49-F238E27FC236}">
                <a16:creationId xmlns:a16="http://schemas.microsoft.com/office/drawing/2014/main" id="{407D57FC-1E3C-4F63-B62E-81E211189816}"/>
              </a:ext>
            </a:extLst>
          </p:cNvPr>
          <p:cNvSpPr/>
          <p:nvPr/>
        </p:nvSpPr>
        <p:spPr>
          <a:xfrm>
            <a:off x="632146" y="1758889"/>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9" name="Rectangle 8">
            <a:extLst>
              <a:ext uri="{FF2B5EF4-FFF2-40B4-BE49-F238E27FC236}">
                <a16:creationId xmlns:a16="http://schemas.microsoft.com/office/drawing/2014/main" id="{4984D8FF-4E35-43B7-9830-027415890E55}"/>
              </a:ext>
            </a:extLst>
          </p:cNvPr>
          <p:cNvSpPr/>
          <p:nvPr/>
        </p:nvSpPr>
        <p:spPr>
          <a:xfrm>
            <a:off x="2040081" y="1758889"/>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Information Technology)</a:t>
            </a:r>
          </a:p>
        </p:txBody>
      </p:sp>
      <p:sp>
        <p:nvSpPr>
          <p:cNvPr id="11" name="Rectangle 10">
            <a:extLst>
              <a:ext uri="{FF2B5EF4-FFF2-40B4-BE49-F238E27FC236}">
                <a16:creationId xmlns:a16="http://schemas.microsoft.com/office/drawing/2014/main" id="{442F33B3-4252-4D68-8C86-DAD2F49E8E8E}"/>
              </a:ext>
            </a:extLst>
          </p:cNvPr>
          <p:cNvSpPr/>
          <p:nvPr/>
        </p:nvSpPr>
        <p:spPr>
          <a:xfrm>
            <a:off x="632146" y="267763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2" name="Rectangle 11">
            <a:extLst>
              <a:ext uri="{FF2B5EF4-FFF2-40B4-BE49-F238E27FC236}">
                <a16:creationId xmlns:a16="http://schemas.microsoft.com/office/drawing/2014/main" id="{4C94399C-CF5D-4797-98CC-11395875D143}"/>
              </a:ext>
            </a:extLst>
          </p:cNvPr>
          <p:cNvSpPr/>
          <p:nvPr/>
        </p:nvSpPr>
        <p:spPr>
          <a:xfrm>
            <a:off x="2040081" y="267763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Research &amp; Development)</a:t>
            </a:r>
          </a:p>
        </p:txBody>
      </p:sp>
      <p:sp>
        <p:nvSpPr>
          <p:cNvPr id="17" name="Rectangle 16">
            <a:extLst>
              <a:ext uri="{FF2B5EF4-FFF2-40B4-BE49-F238E27FC236}">
                <a16:creationId xmlns:a16="http://schemas.microsoft.com/office/drawing/2014/main" id="{261167C3-BA96-4007-A4FC-AC98A17A207A}"/>
              </a:ext>
            </a:extLst>
          </p:cNvPr>
          <p:cNvSpPr/>
          <p:nvPr/>
        </p:nvSpPr>
        <p:spPr>
          <a:xfrm>
            <a:off x="632146" y="359638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8" name="Rectangle 17">
            <a:extLst>
              <a:ext uri="{FF2B5EF4-FFF2-40B4-BE49-F238E27FC236}">
                <a16:creationId xmlns:a16="http://schemas.microsoft.com/office/drawing/2014/main" id="{EA7796F4-E9BF-4AAB-8836-35D494AAF833}"/>
              </a:ext>
            </a:extLst>
          </p:cNvPr>
          <p:cNvSpPr/>
          <p:nvPr/>
        </p:nvSpPr>
        <p:spPr>
          <a:xfrm>
            <a:off x="2040081" y="359638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curement)</a:t>
            </a:r>
          </a:p>
        </p:txBody>
      </p:sp>
      <p:sp>
        <p:nvSpPr>
          <p:cNvPr id="19" name="Rectangle 18">
            <a:extLst>
              <a:ext uri="{FF2B5EF4-FFF2-40B4-BE49-F238E27FC236}">
                <a16:creationId xmlns:a16="http://schemas.microsoft.com/office/drawing/2014/main" id="{51FD46F6-C53E-4953-AF27-35B3747C8C54}"/>
              </a:ext>
            </a:extLst>
          </p:cNvPr>
          <p:cNvSpPr/>
          <p:nvPr/>
        </p:nvSpPr>
        <p:spPr>
          <a:xfrm>
            <a:off x="632146" y="4515137"/>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0" name="Rectangle 19">
            <a:extLst>
              <a:ext uri="{FF2B5EF4-FFF2-40B4-BE49-F238E27FC236}">
                <a16:creationId xmlns:a16="http://schemas.microsoft.com/office/drawing/2014/main" id="{FC9188F6-B7C6-411F-BF5D-B70785DD1804}"/>
              </a:ext>
            </a:extLst>
          </p:cNvPr>
          <p:cNvSpPr/>
          <p:nvPr/>
        </p:nvSpPr>
        <p:spPr>
          <a:xfrm>
            <a:off x="2040081" y="451513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duction)</a:t>
            </a:r>
          </a:p>
        </p:txBody>
      </p:sp>
      <p:sp>
        <p:nvSpPr>
          <p:cNvPr id="21" name="Rectangle 20">
            <a:extLst>
              <a:ext uri="{FF2B5EF4-FFF2-40B4-BE49-F238E27FC236}">
                <a16:creationId xmlns:a16="http://schemas.microsoft.com/office/drawing/2014/main" id="{1DDD4A6F-C189-4BC6-AD10-2CFE1B4F4F30}"/>
              </a:ext>
            </a:extLst>
          </p:cNvPr>
          <p:cNvSpPr/>
          <p:nvPr/>
        </p:nvSpPr>
        <p:spPr>
          <a:xfrm>
            <a:off x="632146" y="5441316"/>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2" name="Rectangle 21">
            <a:extLst>
              <a:ext uri="{FF2B5EF4-FFF2-40B4-BE49-F238E27FC236}">
                <a16:creationId xmlns:a16="http://schemas.microsoft.com/office/drawing/2014/main" id="{C24CB158-CB75-4454-A6CE-58475E8F1A41}"/>
              </a:ext>
            </a:extLst>
          </p:cNvPr>
          <p:cNvSpPr/>
          <p:nvPr/>
        </p:nvSpPr>
        <p:spPr>
          <a:xfrm>
            <a:off x="2040081" y="543388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Sales &amp; Marketing)</a:t>
            </a: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234" y="1834610"/>
            <a:ext cx="665224" cy="665224"/>
          </a:xfrm>
          <a:prstGeom prst="rect">
            <a:avLst/>
          </a:prstGeom>
        </p:spPr>
      </p:pic>
      <p:pic>
        <p:nvPicPr>
          <p:cNvPr id="24" name="Graphic 23" descr="Gears">
            <a:extLst>
              <a:ext uri="{FF2B5EF4-FFF2-40B4-BE49-F238E27FC236}">
                <a16:creationId xmlns:a16="http://schemas.microsoft.com/office/drawing/2014/main" id="{EA0DE43C-1371-4F2C-9CE8-CD192AA502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5133" y="4628757"/>
            <a:ext cx="589426" cy="589426"/>
          </a:xfrm>
          <a:prstGeom prst="rect">
            <a:avLst/>
          </a:prstGeom>
        </p:spPr>
      </p:pic>
      <p:pic>
        <p:nvPicPr>
          <p:cNvPr id="25" name="Graphic 24" descr="Flask">
            <a:extLst>
              <a:ext uri="{FF2B5EF4-FFF2-40B4-BE49-F238E27FC236}">
                <a16:creationId xmlns:a16="http://schemas.microsoft.com/office/drawing/2014/main" id="{017EA857-94A9-4DF7-A3E2-768149DD22F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5410" y="2781535"/>
            <a:ext cx="608872" cy="608872"/>
          </a:xfrm>
          <a:prstGeom prst="rect">
            <a:avLst/>
          </a:prstGeom>
        </p:spPr>
      </p:pic>
      <p:pic>
        <p:nvPicPr>
          <p:cNvPr id="26" name="Graphic 25" descr="Handshake">
            <a:extLst>
              <a:ext uri="{FF2B5EF4-FFF2-40B4-BE49-F238E27FC236}">
                <a16:creationId xmlns:a16="http://schemas.microsoft.com/office/drawing/2014/main" id="{5264A508-8085-4A6E-8CC9-E62FFCCAE3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234" y="5517037"/>
            <a:ext cx="665224" cy="665224"/>
          </a:xfrm>
          <a:prstGeom prst="rect">
            <a:avLst/>
          </a:prstGeom>
        </p:spPr>
      </p:pic>
      <p:pic>
        <p:nvPicPr>
          <p:cNvPr id="27" name="Graphic 26" descr="Shopping cart">
            <a:extLst>
              <a:ext uri="{FF2B5EF4-FFF2-40B4-BE49-F238E27FC236}">
                <a16:creationId xmlns:a16="http://schemas.microsoft.com/office/drawing/2014/main" id="{D0564392-EC2C-46B9-9256-4FA17A9A93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1474" y="3726349"/>
            <a:ext cx="556744" cy="556744"/>
          </a:xfrm>
          <a:prstGeom prst="rect">
            <a:avLst/>
          </a:prstGeom>
        </p:spPr>
      </p:pic>
    </p:spTree>
    <p:extLst>
      <p:ext uri="{BB962C8B-B14F-4D97-AF65-F5344CB8AC3E}">
        <p14:creationId xmlns:p14="http://schemas.microsoft.com/office/powerpoint/2010/main" val="13713250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Information Technology (I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8735" y="501217"/>
            <a:ext cx="818428" cy="818428"/>
          </a:xfrm>
          <a:prstGeom prst="rect">
            <a:avLst/>
          </a:prstGeom>
        </p:spPr>
      </p:pic>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579920"/>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e.g. </a:t>
            </a:r>
            <a:r>
              <a:rPr lang="en-GB" dirty="0"/>
              <a:t>Ensure basic connectivity and appropriate security on day one)</a:t>
            </a:r>
            <a:r>
              <a:rPr lang="en-US" dirty="0"/>
              <a:t>, and what type of synergy you could achieve within this function (e.g. one IT system could be removed due to duplica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p:txBody>
      </p:sp>
    </p:spTree>
    <p:extLst>
      <p:ext uri="{BB962C8B-B14F-4D97-AF65-F5344CB8AC3E}">
        <p14:creationId xmlns:p14="http://schemas.microsoft.com/office/powerpoint/2010/main" val="2434730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Research &amp; Development (R&amp;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7" name="Graphic 6" descr="Flask">
            <a:extLst>
              <a:ext uri="{FF2B5EF4-FFF2-40B4-BE49-F238E27FC236}">
                <a16:creationId xmlns:a16="http://schemas.microsoft.com/office/drawing/2014/main" id="{E5508304-CC1F-4925-8FF7-89D538CC0C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2826679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Our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4</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Tree>
    <p:extLst>
      <p:ext uri="{BB962C8B-B14F-4D97-AF65-F5344CB8AC3E}">
        <p14:creationId xmlns:p14="http://schemas.microsoft.com/office/powerpoint/2010/main" val="25002817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cure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8" name="Graphic 7" descr="Shopping cart">
            <a:extLst>
              <a:ext uri="{FF2B5EF4-FFF2-40B4-BE49-F238E27FC236}">
                <a16:creationId xmlns:a16="http://schemas.microsoft.com/office/drawing/2014/main" id="{3DD6D422-1748-4B42-9C2F-D4B02A6C32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1178320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du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7" name="Graphic 6" descr="Gears">
            <a:extLst>
              <a:ext uri="{FF2B5EF4-FFF2-40B4-BE49-F238E27FC236}">
                <a16:creationId xmlns:a16="http://schemas.microsoft.com/office/drawing/2014/main" id="{C4068818-E93E-4DF8-9F54-BB57DBE1F9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76953" y="505326"/>
            <a:ext cx="810210" cy="810210"/>
          </a:xfrm>
          <a:prstGeom prst="rect">
            <a:avLst/>
          </a:prstGeom>
        </p:spPr>
      </p:pic>
    </p:spTree>
    <p:extLst>
      <p:ext uri="{BB962C8B-B14F-4D97-AF65-F5344CB8AC3E}">
        <p14:creationId xmlns:p14="http://schemas.microsoft.com/office/powerpoint/2010/main" val="39198713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Sales &amp; Marketing</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8" name="Graphic 7" descr="Handshake">
            <a:extLst>
              <a:ext uri="{FF2B5EF4-FFF2-40B4-BE49-F238E27FC236}">
                <a16:creationId xmlns:a16="http://schemas.microsoft.com/office/drawing/2014/main" id="{C4046ECF-3147-4F7E-892E-8EE006A013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763" y="453231"/>
            <a:ext cx="914400" cy="914400"/>
          </a:xfrm>
          <a:prstGeom prst="rect">
            <a:avLst/>
          </a:prstGeom>
        </p:spPr>
      </p:pic>
    </p:spTree>
    <p:extLst>
      <p:ext uri="{BB962C8B-B14F-4D97-AF65-F5344CB8AC3E}">
        <p14:creationId xmlns:p14="http://schemas.microsoft.com/office/powerpoint/2010/main" val="37066761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99739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ee below a list of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21" name="Rectangle 20">
            <a:extLst>
              <a:ext uri="{FF2B5EF4-FFF2-40B4-BE49-F238E27FC236}">
                <a16:creationId xmlns:a16="http://schemas.microsoft.com/office/drawing/2014/main" id="{181F1D5E-524E-4EB5-9CDD-F7C5B32D4596}"/>
              </a:ext>
            </a:extLst>
          </p:cNvPr>
          <p:cNvSpPr/>
          <p:nvPr/>
        </p:nvSpPr>
        <p:spPr>
          <a:xfrm>
            <a:off x="595745"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6424B24E-4C20-4EF7-AEE4-97DE6AB33117}"/>
              </a:ext>
            </a:extLst>
          </p:cNvPr>
          <p:cNvSpPr/>
          <p:nvPr/>
        </p:nvSpPr>
        <p:spPr>
          <a:xfrm>
            <a:off x="6279568"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capturing synergies</a:t>
            </a:r>
          </a:p>
        </p:txBody>
      </p:sp>
      <p:sp>
        <p:nvSpPr>
          <p:cNvPr id="23" name="Rectangle 22">
            <a:extLst>
              <a:ext uri="{FF2B5EF4-FFF2-40B4-BE49-F238E27FC236}">
                <a16:creationId xmlns:a16="http://schemas.microsoft.com/office/drawing/2014/main" id="{D0C08E85-6656-4D70-A634-B81EEB60AA99}"/>
              </a:ext>
            </a:extLst>
          </p:cNvPr>
          <p:cNvSpPr/>
          <p:nvPr/>
        </p:nvSpPr>
        <p:spPr>
          <a:xfrm>
            <a:off x="595745"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p:txBody>
      </p:sp>
      <p:sp>
        <p:nvSpPr>
          <p:cNvPr id="24" name="Rectangle 23">
            <a:extLst>
              <a:ext uri="{FF2B5EF4-FFF2-40B4-BE49-F238E27FC236}">
                <a16:creationId xmlns:a16="http://schemas.microsoft.com/office/drawing/2014/main" id="{E2A79F9E-459F-41E7-9331-768A9D1F23AD}"/>
              </a:ext>
            </a:extLst>
          </p:cNvPr>
          <p:cNvSpPr/>
          <p:nvPr/>
        </p:nvSpPr>
        <p:spPr>
          <a:xfrm>
            <a:off x="6279568"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p:txBody>
      </p:sp>
      <p:grpSp>
        <p:nvGrpSpPr>
          <p:cNvPr id="14" name="Group 13">
            <a:extLst>
              <a:ext uri="{FF2B5EF4-FFF2-40B4-BE49-F238E27FC236}">
                <a16:creationId xmlns:a16="http://schemas.microsoft.com/office/drawing/2014/main" id="{CED553A7-F451-4C6B-80C1-B9C5D4F1F0BA}"/>
              </a:ext>
            </a:extLst>
          </p:cNvPr>
          <p:cNvGrpSpPr/>
          <p:nvPr/>
        </p:nvGrpSpPr>
        <p:grpSpPr>
          <a:xfrm>
            <a:off x="2919831" y="1564412"/>
            <a:ext cx="794379" cy="464127"/>
            <a:chOff x="1828800" y="3463315"/>
            <a:chExt cx="2086729" cy="1219200"/>
          </a:xfrm>
          <a:solidFill>
            <a:schemeClr val="bg1">
              <a:lumMod val="50000"/>
              <a:alpha val="67000"/>
            </a:schemeClr>
          </a:solidFill>
        </p:grpSpPr>
        <p:sp>
          <p:nvSpPr>
            <p:cNvPr id="15" name="Oval 14">
              <a:extLst>
                <a:ext uri="{FF2B5EF4-FFF2-40B4-BE49-F238E27FC236}">
                  <a16:creationId xmlns:a16="http://schemas.microsoft.com/office/drawing/2014/main" id="{C4341316-45CA-4210-B6C6-F43BD35928B9}"/>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5" name="Oval 24">
              <a:extLst>
                <a:ext uri="{FF2B5EF4-FFF2-40B4-BE49-F238E27FC236}">
                  <a16:creationId xmlns:a16="http://schemas.microsoft.com/office/drawing/2014/main" id="{F4A8C250-4181-42B1-995B-675B556C527E}"/>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27" name="Graphic 26" descr="Upward trend outline">
            <a:extLst>
              <a:ext uri="{FF2B5EF4-FFF2-40B4-BE49-F238E27FC236}">
                <a16:creationId xmlns:a16="http://schemas.microsoft.com/office/drawing/2014/main" id="{42FC7054-E0B3-48E6-B5E9-75265E6C0A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3072" y="1564412"/>
            <a:ext cx="608123" cy="608123"/>
          </a:xfrm>
          <a:prstGeom prst="rect">
            <a:avLst/>
          </a:prstGeom>
        </p:spPr>
      </p:pic>
    </p:spTree>
    <p:extLst>
      <p:ext uri="{BB962C8B-B14F-4D97-AF65-F5344CB8AC3E}">
        <p14:creationId xmlns:p14="http://schemas.microsoft.com/office/powerpoint/2010/main" val="3954766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573152"/>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1</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15110006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be able to prioritize our initiatives, a business case has been created for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17" name="Title 1">
            <a:extLst>
              <a:ext uri="{FF2B5EF4-FFF2-40B4-BE49-F238E27FC236}">
                <a16:creationId xmlns:a16="http://schemas.microsoft.com/office/drawing/2014/main" id="{57E001C1-C496-48E8-9CC2-E85BD667368C}"/>
              </a:ext>
            </a:extLst>
          </p:cNvPr>
          <p:cNvSpPr txBox="1">
            <a:spLocks/>
          </p:cNvSpPr>
          <p:nvPr/>
        </p:nvSpPr>
        <p:spPr>
          <a:xfrm>
            <a:off x="514350" y="1626020"/>
            <a:ext cx="10314276" cy="4893647"/>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300"/>
              </a:spcBef>
              <a:spcAft>
                <a:spcPts val="300"/>
              </a:spcAft>
            </a:pPr>
            <a:r>
              <a:rPr lang="en-US" sz="1800" kern="0" dirty="0">
                <a:latin typeface="+mn-lt"/>
              </a:rPr>
              <a:t>Each Business Case has been created in the folder “</a:t>
            </a:r>
            <a:r>
              <a:rPr lang="en-GB" sz="1800" kern="0" dirty="0">
                <a:latin typeface="+mn-lt"/>
              </a:rPr>
              <a:t>Business case and financial model</a:t>
            </a:r>
            <a:r>
              <a:rPr lang="en-US" sz="1800" kern="0" dirty="0">
                <a:latin typeface="+mn-lt"/>
              </a:rPr>
              <a:t>”, and provides </a:t>
            </a:r>
            <a:r>
              <a:rPr lang="en-GB" sz="1800" kern="0" dirty="0">
                <a:latin typeface="+mn-lt"/>
              </a:rPr>
              <a:t>the following information:</a:t>
            </a:r>
          </a:p>
          <a:p>
            <a:pPr marL="285750" indent="-198438">
              <a:spcBef>
                <a:spcPts val="300"/>
              </a:spcBef>
              <a:spcAft>
                <a:spcPts val="300"/>
              </a:spcAft>
              <a:buFont typeface="Arial" panose="020B0604020202020204" pitchFamily="34" charset="0"/>
              <a:buChar char="•"/>
            </a:pPr>
            <a:r>
              <a:rPr lang="en-GB" sz="1800" b="0" kern="0" dirty="0">
                <a:latin typeface="+mn-lt"/>
              </a:rPr>
              <a:t>Business Opportunity &amp; Suggested Solution</a:t>
            </a:r>
          </a:p>
          <a:p>
            <a:pPr marL="285750" indent="-198438">
              <a:spcBef>
                <a:spcPts val="300"/>
              </a:spcBef>
              <a:spcAft>
                <a:spcPts val="300"/>
              </a:spcAft>
              <a:buFont typeface="Arial" panose="020B0604020202020204" pitchFamily="34" charset="0"/>
              <a:buChar char="•"/>
            </a:pPr>
            <a:r>
              <a:rPr lang="en-GB" sz="1800" b="0" kern="0" dirty="0">
                <a:latin typeface="+mn-lt"/>
              </a:rPr>
              <a:t>Project Objectives, Scope &amp; Approach</a:t>
            </a:r>
          </a:p>
          <a:p>
            <a:pPr marL="285750" indent="-198438">
              <a:spcBef>
                <a:spcPts val="300"/>
              </a:spcBef>
              <a:spcAft>
                <a:spcPts val="300"/>
              </a:spcAft>
              <a:buFont typeface="Arial" panose="020B0604020202020204" pitchFamily="34" charset="0"/>
              <a:buChar char="•"/>
            </a:pPr>
            <a:r>
              <a:rPr lang="en-GB" sz="1800" b="0" kern="0" dirty="0">
                <a:latin typeface="+mn-lt"/>
              </a:rPr>
              <a:t>Project Deliverables &amp; Business Outcomes</a:t>
            </a:r>
          </a:p>
          <a:p>
            <a:pPr marL="285750" indent="-198438">
              <a:spcBef>
                <a:spcPts val="300"/>
              </a:spcBef>
              <a:spcAft>
                <a:spcPts val="300"/>
              </a:spcAft>
              <a:buFont typeface="Arial" panose="020B0604020202020204" pitchFamily="34" charset="0"/>
              <a:buChar char="•"/>
            </a:pPr>
            <a:r>
              <a:rPr lang="en-GB" sz="1800" b="0" kern="0" dirty="0">
                <a:latin typeface="+mn-lt"/>
              </a:rPr>
              <a:t>Strategic Alignment</a:t>
            </a:r>
          </a:p>
          <a:p>
            <a:pPr marL="285750" indent="-198438">
              <a:spcBef>
                <a:spcPts val="300"/>
              </a:spcBef>
              <a:spcAft>
                <a:spcPts val="300"/>
              </a:spcAft>
              <a:buFont typeface="Arial" panose="020B0604020202020204" pitchFamily="34" charset="0"/>
              <a:buChar char="•"/>
            </a:pPr>
            <a:r>
              <a:rPr lang="en-GB" sz="1800" b="0" kern="0" dirty="0">
                <a:latin typeface="+mn-lt"/>
              </a:rPr>
              <a:t>Dependencies &amp; Constraints</a:t>
            </a:r>
          </a:p>
          <a:p>
            <a:pPr marL="285750" indent="-198438">
              <a:spcBef>
                <a:spcPts val="300"/>
              </a:spcBef>
              <a:spcAft>
                <a:spcPts val="300"/>
              </a:spcAft>
              <a:buFont typeface="Arial" panose="020B0604020202020204" pitchFamily="34" charset="0"/>
              <a:buChar char="•"/>
            </a:pPr>
            <a:r>
              <a:rPr lang="en-GB" sz="1800" b="0" kern="0" dirty="0">
                <a:latin typeface="+mn-lt"/>
              </a:rPr>
              <a:t>Risk Assessment &amp; Mitigation</a:t>
            </a:r>
          </a:p>
          <a:p>
            <a:pPr marL="285750" indent="-198438">
              <a:spcBef>
                <a:spcPts val="300"/>
              </a:spcBef>
              <a:spcAft>
                <a:spcPts val="300"/>
              </a:spcAft>
              <a:buFont typeface="Arial" panose="020B0604020202020204" pitchFamily="34" charset="0"/>
              <a:buChar char="•"/>
            </a:pPr>
            <a:r>
              <a:rPr lang="en-GB" sz="1800" b="0" kern="0" dirty="0">
                <a:latin typeface="+mn-lt"/>
              </a:rPr>
              <a:t>Change Impact Assessment</a:t>
            </a:r>
          </a:p>
          <a:p>
            <a:pPr marL="285750" indent="-198438">
              <a:spcBef>
                <a:spcPts val="300"/>
              </a:spcBef>
              <a:spcAft>
                <a:spcPts val="300"/>
              </a:spcAft>
              <a:buFont typeface="Arial" panose="020B0604020202020204" pitchFamily="34" charset="0"/>
              <a:buChar char="•"/>
            </a:pPr>
            <a:r>
              <a:rPr lang="en-GB" sz="1800" b="0" kern="0" dirty="0">
                <a:latin typeface="+mn-lt"/>
              </a:rPr>
              <a:t>Project Costs </a:t>
            </a:r>
          </a:p>
          <a:p>
            <a:pPr marL="285750" indent="-198438">
              <a:spcBef>
                <a:spcPts val="300"/>
              </a:spcBef>
              <a:spcAft>
                <a:spcPts val="300"/>
              </a:spcAft>
              <a:buFont typeface="Arial" panose="020B0604020202020204" pitchFamily="34" charset="0"/>
              <a:buChar char="•"/>
            </a:pPr>
            <a:r>
              <a:rPr lang="en-GB" sz="1800" b="0" kern="0" dirty="0">
                <a:latin typeface="+mn-lt"/>
              </a:rPr>
              <a:t>Benefits</a:t>
            </a:r>
          </a:p>
          <a:p>
            <a:pPr marL="285750" indent="-198438">
              <a:spcBef>
                <a:spcPts val="300"/>
              </a:spcBef>
              <a:spcAft>
                <a:spcPts val="300"/>
              </a:spcAft>
              <a:buFont typeface="Arial" panose="020B0604020202020204" pitchFamily="34" charset="0"/>
              <a:buChar char="•"/>
            </a:pPr>
            <a:r>
              <a:rPr lang="en-GB" sz="1800" b="0" kern="0" dirty="0">
                <a:latin typeface="+mn-lt"/>
              </a:rPr>
              <a:t>Net Present Value</a:t>
            </a:r>
          </a:p>
          <a:p>
            <a:pPr marL="285750" indent="-198438">
              <a:spcBef>
                <a:spcPts val="300"/>
              </a:spcBef>
              <a:spcAft>
                <a:spcPts val="300"/>
              </a:spcAft>
              <a:buFont typeface="Arial" panose="020B0604020202020204" pitchFamily="34" charset="0"/>
              <a:buChar char="•"/>
            </a:pPr>
            <a:r>
              <a:rPr lang="en-GB" sz="1800" b="0" kern="0" dirty="0">
                <a:latin typeface="+mn-lt"/>
              </a:rPr>
              <a:t>Key Success Factors &amp; KPIs</a:t>
            </a:r>
          </a:p>
          <a:p>
            <a:pPr>
              <a:spcBef>
                <a:spcPts val="600"/>
              </a:spcBef>
              <a:spcAft>
                <a:spcPts val="300"/>
              </a:spcAft>
            </a:pPr>
            <a:r>
              <a:rPr lang="en-GB" sz="1800" kern="0" dirty="0">
                <a:latin typeface="+mn-lt"/>
              </a:rPr>
              <a:t>In the next slides, you will see a lean business case for our top 5 key initiatives</a:t>
            </a:r>
            <a:endParaRPr lang="en-US" sz="1800" kern="0" dirty="0">
              <a:latin typeface="+mn-lt"/>
            </a:endParaRPr>
          </a:p>
        </p:txBody>
      </p:sp>
      <p:sp>
        <p:nvSpPr>
          <p:cNvPr id="4" name="Arrow: Right 3">
            <a:extLst>
              <a:ext uri="{FF2B5EF4-FFF2-40B4-BE49-F238E27FC236}">
                <a16:creationId xmlns:a16="http://schemas.microsoft.com/office/drawing/2014/main" id="{149D4DC5-0BD1-45EE-8644-5A28BDB7B194}"/>
              </a:ext>
            </a:extLst>
          </p:cNvPr>
          <p:cNvSpPr/>
          <p:nvPr/>
        </p:nvSpPr>
        <p:spPr>
          <a:xfrm>
            <a:off x="9263743" y="6215743"/>
            <a:ext cx="511628" cy="2989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424356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6</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0262076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7</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32615684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8</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1382332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9</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2769929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233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the success of the integration. It includes 7 [replace this number by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743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0</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2728258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867072"/>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9885871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05146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used the following prioritization matrix in order to prioritize all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21" name="Title 1">
            <a:extLst>
              <a:ext uri="{FF2B5EF4-FFF2-40B4-BE49-F238E27FC236}">
                <a16:creationId xmlns:a16="http://schemas.microsoft.com/office/drawing/2014/main" id="{8B37C3BA-E919-4CC9-9369-D79EA2DD968A}"/>
              </a:ext>
            </a:extLst>
          </p:cNvPr>
          <p:cNvSpPr txBox="1">
            <a:spLocks/>
          </p:cNvSpPr>
          <p:nvPr/>
        </p:nvSpPr>
        <p:spPr>
          <a:xfrm>
            <a:off x="514350" y="1626020"/>
            <a:ext cx="10314276" cy="369332"/>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kern="0" dirty="0">
                <a:latin typeface="+mn-lt"/>
              </a:rPr>
              <a:t>Our prioritization matrix is based on impact and effort:</a:t>
            </a:r>
          </a:p>
        </p:txBody>
      </p:sp>
      <p:sp>
        <p:nvSpPr>
          <p:cNvPr id="22" name="Rectangle 21">
            <a:extLst>
              <a:ext uri="{FF2B5EF4-FFF2-40B4-BE49-F238E27FC236}">
                <a16:creationId xmlns:a16="http://schemas.microsoft.com/office/drawing/2014/main" id="{72225568-7ABF-4918-95EB-EB4BFE164C83}"/>
              </a:ext>
            </a:extLst>
          </p:cNvPr>
          <p:cNvSpPr/>
          <p:nvPr/>
        </p:nvSpPr>
        <p:spPr>
          <a:xfrm>
            <a:off x="634684"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mpact</a:t>
            </a:r>
          </a:p>
        </p:txBody>
      </p:sp>
      <p:sp>
        <p:nvSpPr>
          <p:cNvPr id="23" name="Rectangle 22">
            <a:extLst>
              <a:ext uri="{FF2B5EF4-FFF2-40B4-BE49-F238E27FC236}">
                <a16:creationId xmlns:a16="http://schemas.microsoft.com/office/drawing/2014/main" id="{0A336EC2-4A87-45CE-8C42-42E9BC69593D}"/>
              </a:ext>
            </a:extLst>
          </p:cNvPr>
          <p:cNvSpPr/>
          <p:nvPr/>
        </p:nvSpPr>
        <p:spPr>
          <a:xfrm>
            <a:off x="6335745"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Effort</a:t>
            </a:r>
          </a:p>
        </p:txBody>
      </p:sp>
      <p:sp>
        <p:nvSpPr>
          <p:cNvPr id="24" name="Rectangle 23">
            <a:extLst>
              <a:ext uri="{FF2B5EF4-FFF2-40B4-BE49-F238E27FC236}">
                <a16:creationId xmlns:a16="http://schemas.microsoft.com/office/drawing/2014/main" id="{79736E69-B2AA-4A1C-8A3F-92DD767F4814}"/>
              </a:ext>
            </a:extLst>
          </p:cNvPr>
          <p:cNvSpPr/>
          <p:nvPr/>
        </p:nvSpPr>
        <p:spPr>
          <a:xfrm>
            <a:off x="634684"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AU" sz="1800" b="1" dirty="0">
                <a:solidFill>
                  <a:schemeClr val="tx1"/>
                </a:solidFill>
              </a:rPr>
              <a:t>For the initiatives facilitating the integration: </a:t>
            </a:r>
            <a:r>
              <a:rPr lang="en-AU" sz="1800" dirty="0">
                <a:solidFill>
                  <a:schemeClr val="tx1"/>
                </a:solidFill>
              </a:rPr>
              <a:t>an initiative with a high impact would mean that the initiative is very important in the success of the integration</a:t>
            </a:r>
          </a:p>
          <a:p>
            <a:pPr marL="169863" indent="-169863">
              <a:buFont typeface="Arial" panose="020B0604020202020204" pitchFamily="34" charset="0"/>
              <a:buChar char="•"/>
            </a:pPr>
            <a:endParaRPr lang="en-AU" sz="1800" b="1" dirty="0">
              <a:solidFill>
                <a:schemeClr val="tx1"/>
              </a:solidFill>
            </a:endParaRPr>
          </a:p>
          <a:p>
            <a:pPr marL="169863" indent="-169863">
              <a:buFont typeface="Arial" panose="020B0604020202020204" pitchFamily="34" charset="0"/>
              <a:buChar char="•"/>
            </a:pPr>
            <a:r>
              <a:rPr lang="en-AU" sz="1800" b="1" dirty="0">
                <a:solidFill>
                  <a:schemeClr val="tx1"/>
                </a:solidFill>
              </a:rPr>
              <a:t>For the initiatives capturing synergy: </a:t>
            </a:r>
            <a:r>
              <a:rPr lang="en-AU" sz="1800" dirty="0">
                <a:solidFill>
                  <a:schemeClr val="tx1"/>
                </a:solidFill>
              </a:rPr>
              <a:t>an initiative with a high impact would mean that the initiative highly contributes to the achievement of the synergy targets</a:t>
            </a:r>
          </a:p>
        </p:txBody>
      </p:sp>
      <p:sp>
        <p:nvSpPr>
          <p:cNvPr id="34" name="Rectangle 33">
            <a:extLst>
              <a:ext uri="{FF2B5EF4-FFF2-40B4-BE49-F238E27FC236}">
                <a16:creationId xmlns:a16="http://schemas.microsoft.com/office/drawing/2014/main" id="{EF2E2B31-ED72-4671-89D5-046991DA1BD4}"/>
              </a:ext>
            </a:extLst>
          </p:cNvPr>
          <p:cNvSpPr/>
          <p:nvPr/>
        </p:nvSpPr>
        <p:spPr>
          <a:xfrm>
            <a:off x="6335745"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US" sz="1800" b="1" dirty="0">
                <a:solidFill>
                  <a:schemeClr val="tx1"/>
                </a:solidFill>
              </a:rPr>
              <a:t>Ease of implementation</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Time frame required</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Resources required (Number of people, capital investment, etc.)</a:t>
            </a:r>
          </a:p>
          <a:p>
            <a:pPr marL="169863" indent="-169863">
              <a:buFont typeface="Arial" panose="020B0604020202020204" pitchFamily="34" charset="0"/>
              <a:buChar char="•"/>
            </a:pPr>
            <a:endParaRPr lang="en-AU" sz="1800" b="1" dirty="0">
              <a:solidFill>
                <a:schemeClr val="tx1"/>
              </a:solidFill>
            </a:endParaRPr>
          </a:p>
        </p:txBody>
      </p:sp>
    </p:spTree>
    <p:extLst>
      <p:ext uri="{BB962C8B-B14F-4D97-AF65-F5344CB8AC3E}">
        <p14:creationId xmlns:p14="http://schemas.microsoft.com/office/powerpoint/2010/main" val="5291948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0812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focus should be on the initiatives that have the greatest impact and require the lowest effor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04040"/>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1258"/>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329786" y="1856302"/>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08374"/>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00536"/>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07061"/>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49135"/>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7430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74307"/>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32233"/>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32233"/>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Tree>
    <p:extLst>
      <p:ext uri="{BB962C8B-B14F-4D97-AF65-F5344CB8AC3E}">
        <p14:creationId xmlns:p14="http://schemas.microsoft.com/office/powerpoint/2010/main" val="42627572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59267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facilitating the integr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18" name="Rectangle 39">
            <a:extLst>
              <a:ext uri="{FF2B5EF4-FFF2-40B4-BE49-F238E27FC236}">
                <a16:creationId xmlns:a16="http://schemas.microsoft.com/office/drawing/2014/main" id="{9ADECD9A-B271-4DF6-8162-DA9C50D26EEE}"/>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19" name="Rectangle 40">
            <a:extLst>
              <a:ext uri="{FF2B5EF4-FFF2-40B4-BE49-F238E27FC236}">
                <a16:creationId xmlns:a16="http://schemas.microsoft.com/office/drawing/2014/main" id="{4AD4B22A-3012-4F90-A25D-BFAD08973595}"/>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20" name="Rectangle 38">
            <a:extLst>
              <a:ext uri="{FF2B5EF4-FFF2-40B4-BE49-F238E27FC236}">
                <a16:creationId xmlns:a16="http://schemas.microsoft.com/office/drawing/2014/main" id="{85E2A440-E4C0-439F-A9B9-4E1A90E5C2B0}"/>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1" name="Rectangle 38">
            <a:extLst>
              <a:ext uri="{FF2B5EF4-FFF2-40B4-BE49-F238E27FC236}">
                <a16:creationId xmlns:a16="http://schemas.microsoft.com/office/drawing/2014/main" id="{A7CFB53C-979D-4013-BC8D-887030B50F78}"/>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2" name="Rectangle 38">
            <a:extLst>
              <a:ext uri="{FF2B5EF4-FFF2-40B4-BE49-F238E27FC236}">
                <a16:creationId xmlns:a16="http://schemas.microsoft.com/office/drawing/2014/main" id="{950BAF9D-4048-4C0A-9264-EB984287FAF1}"/>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3" name="Rectangle 38">
            <a:extLst>
              <a:ext uri="{FF2B5EF4-FFF2-40B4-BE49-F238E27FC236}">
                <a16:creationId xmlns:a16="http://schemas.microsoft.com/office/drawing/2014/main" id="{72311B61-89C6-430E-9F91-AFF4EF4AFBC3}"/>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4" name="Rectangle 23">
            <a:extLst>
              <a:ext uri="{FF2B5EF4-FFF2-40B4-BE49-F238E27FC236}">
                <a16:creationId xmlns:a16="http://schemas.microsoft.com/office/drawing/2014/main" id="{493F8E47-D954-40A2-BC66-36552BDEC999}"/>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5" name="Rectangle 24">
            <a:extLst>
              <a:ext uri="{FF2B5EF4-FFF2-40B4-BE49-F238E27FC236}">
                <a16:creationId xmlns:a16="http://schemas.microsoft.com/office/drawing/2014/main" id="{7F61B825-2CDE-4FB7-B1E2-BD2D803C0E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6" name="Rectangle 25">
            <a:extLst>
              <a:ext uri="{FF2B5EF4-FFF2-40B4-BE49-F238E27FC236}">
                <a16:creationId xmlns:a16="http://schemas.microsoft.com/office/drawing/2014/main" id="{713E82D0-2682-48DF-BB79-867E940C5D3D}"/>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7" name="Rectangle 26">
            <a:extLst>
              <a:ext uri="{FF2B5EF4-FFF2-40B4-BE49-F238E27FC236}">
                <a16:creationId xmlns:a16="http://schemas.microsoft.com/office/drawing/2014/main" id="{9C693705-92F4-4E40-9C7C-FC332031176A}"/>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grpSp>
        <p:nvGrpSpPr>
          <p:cNvPr id="32" name="Group 31">
            <a:extLst>
              <a:ext uri="{FF2B5EF4-FFF2-40B4-BE49-F238E27FC236}">
                <a16:creationId xmlns:a16="http://schemas.microsoft.com/office/drawing/2014/main" id="{BDD78021-9ECB-4DB7-8DC2-F99FC8254686}"/>
              </a:ext>
            </a:extLst>
          </p:cNvPr>
          <p:cNvGrpSpPr/>
          <p:nvPr/>
        </p:nvGrpSpPr>
        <p:grpSpPr>
          <a:xfrm>
            <a:off x="10218031" y="510464"/>
            <a:ext cx="1369132" cy="799934"/>
            <a:chOff x="1828800" y="3463315"/>
            <a:chExt cx="2086729" cy="1219200"/>
          </a:xfrm>
          <a:solidFill>
            <a:schemeClr val="bg1">
              <a:lumMod val="50000"/>
              <a:alpha val="67000"/>
            </a:schemeClr>
          </a:solidFill>
        </p:grpSpPr>
        <p:sp>
          <p:nvSpPr>
            <p:cNvPr id="38" name="Oval 37">
              <a:extLst>
                <a:ext uri="{FF2B5EF4-FFF2-40B4-BE49-F238E27FC236}">
                  <a16:creationId xmlns:a16="http://schemas.microsoft.com/office/drawing/2014/main" id="{770D2CDB-7313-4B75-B436-5867D0BD6FD0}"/>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64001B44-BFF1-4EB4-B3BD-C8220196A86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Tree>
    <p:extLst>
      <p:ext uri="{BB962C8B-B14F-4D97-AF65-F5344CB8AC3E}">
        <p14:creationId xmlns:p14="http://schemas.microsoft.com/office/powerpoint/2010/main" val="5044908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capturing synergy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pic>
        <p:nvPicPr>
          <p:cNvPr id="29" name="Graphic 28" descr="Upward trend outline">
            <a:extLst>
              <a:ext uri="{FF2B5EF4-FFF2-40B4-BE49-F238E27FC236}">
                <a16:creationId xmlns:a16="http://schemas.microsoft.com/office/drawing/2014/main" id="{DB05BC5A-F86F-4051-8832-8C10FB44CA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72403" y="401054"/>
            <a:ext cx="914760" cy="914760"/>
          </a:xfrm>
          <a:prstGeom prst="rect">
            <a:avLst/>
          </a:prstGeom>
        </p:spPr>
      </p:pic>
      <p:sp>
        <p:nvSpPr>
          <p:cNvPr id="30" name="Rectangle 39">
            <a:extLst>
              <a:ext uri="{FF2B5EF4-FFF2-40B4-BE49-F238E27FC236}">
                <a16:creationId xmlns:a16="http://schemas.microsoft.com/office/drawing/2014/main" id="{56C4162C-88F8-480B-B9E6-B8F341749952}"/>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31" name="Rectangle 40">
            <a:extLst>
              <a:ext uri="{FF2B5EF4-FFF2-40B4-BE49-F238E27FC236}">
                <a16:creationId xmlns:a16="http://schemas.microsoft.com/office/drawing/2014/main" id="{E23D86A3-8C6E-411A-AA8E-9E5117EBF7BD}"/>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32" name="Rectangle 38">
            <a:extLst>
              <a:ext uri="{FF2B5EF4-FFF2-40B4-BE49-F238E27FC236}">
                <a16:creationId xmlns:a16="http://schemas.microsoft.com/office/drawing/2014/main" id="{5544F75C-B08D-4B9B-8CE0-5AD3A92C0FFD}"/>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38" name="Rectangle 38">
            <a:extLst>
              <a:ext uri="{FF2B5EF4-FFF2-40B4-BE49-F238E27FC236}">
                <a16:creationId xmlns:a16="http://schemas.microsoft.com/office/drawing/2014/main" id="{8A0CEDC5-A228-408A-8BAD-A459282B7471}"/>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39" name="Rectangle 38">
            <a:extLst>
              <a:ext uri="{FF2B5EF4-FFF2-40B4-BE49-F238E27FC236}">
                <a16:creationId xmlns:a16="http://schemas.microsoft.com/office/drawing/2014/main" id="{8C167300-9C1B-4523-999B-EFB0031297C6}"/>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40" name="Rectangle 38">
            <a:extLst>
              <a:ext uri="{FF2B5EF4-FFF2-40B4-BE49-F238E27FC236}">
                <a16:creationId xmlns:a16="http://schemas.microsoft.com/office/drawing/2014/main" id="{0A1589DF-62B2-4232-9930-8D9120500386}"/>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41" name="Rectangle 40">
            <a:extLst>
              <a:ext uri="{FF2B5EF4-FFF2-40B4-BE49-F238E27FC236}">
                <a16:creationId xmlns:a16="http://schemas.microsoft.com/office/drawing/2014/main" id="{AEA36917-9CB8-4CB3-A4FB-8C9EE8793FB7}"/>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2" name="Rectangle 41">
            <a:extLst>
              <a:ext uri="{FF2B5EF4-FFF2-40B4-BE49-F238E27FC236}">
                <a16:creationId xmlns:a16="http://schemas.microsoft.com/office/drawing/2014/main" id="{25C80A4E-0284-4138-B6B6-490F4A659A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3" name="Rectangle 42">
            <a:extLst>
              <a:ext uri="{FF2B5EF4-FFF2-40B4-BE49-F238E27FC236}">
                <a16:creationId xmlns:a16="http://schemas.microsoft.com/office/drawing/2014/main" id="{99A25498-C3CB-4BCE-98E2-1B62CD64949B}"/>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4" name="Rectangle 43">
            <a:extLst>
              <a:ext uri="{FF2B5EF4-FFF2-40B4-BE49-F238E27FC236}">
                <a16:creationId xmlns:a16="http://schemas.microsoft.com/office/drawing/2014/main" id="{4D46A395-27C9-4CFF-8CEE-9A07776DA561}"/>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Tree>
    <p:extLst>
      <p:ext uri="{BB962C8B-B14F-4D97-AF65-F5344CB8AC3E}">
        <p14:creationId xmlns:p14="http://schemas.microsoft.com/office/powerpoint/2010/main" val="24109913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ime now to focus on the Phase II, located in the folder “</a:t>
            </a:r>
            <a:r>
              <a:rPr lang="en-GB" sz="2400" dirty="0">
                <a:solidFill>
                  <a:srgbClr val="002776"/>
                </a:solidFill>
              </a:rPr>
              <a:t>Phase II - Develop and Communicate the Detailed Pla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15" name="Chevron 17">
            <a:extLst>
              <a:ext uri="{FF2B5EF4-FFF2-40B4-BE49-F238E27FC236}">
                <a16:creationId xmlns:a16="http://schemas.microsoft.com/office/drawing/2014/main" id="{26E88083-8689-4AB4-A2EE-37619F147826}"/>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p>
        </p:txBody>
      </p:sp>
      <p:sp>
        <p:nvSpPr>
          <p:cNvPr id="17" name="Chevron 17">
            <a:extLst>
              <a:ext uri="{FF2B5EF4-FFF2-40B4-BE49-F238E27FC236}">
                <a16:creationId xmlns:a16="http://schemas.microsoft.com/office/drawing/2014/main" id="{DDACD0C1-144A-4DF7-AA4C-EF51300209C0}"/>
              </a:ext>
            </a:extLst>
          </p:cNvPr>
          <p:cNvSpPr/>
          <p:nvPr/>
        </p:nvSpPr>
        <p:spPr bwMode="auto">
          <a:xfrm>
            <a:off x="4223481"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p>
        </p:txBody>
      </p:sp>
      <p:sp>
        <p:nvSpPr>
          <p:cNvPr id="20" name="Chevron 17">
            <a:extLst>
              <a:ext uri="{FF2B5EF4-FFF2-40B4-BE49-F238E27FC236}">
                <a16:creationId xmlns:a16="http://schemas.microsoft.com/office/drawing/2014/main" id="{A53CFD61-3441-471A-8C52-247012D447B5}"/>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21" name="Straight Connector 20">
            <a:extLst>
              <a:ext uri="{FF2B5EF4-FFF2-40B4-BE49-F238E27FC236}">
                <a16:creationId xmlns:a16="http://schemas.microsoft.com/office/drawing/2014/main" id="{7CFDCC8B-74DD-4897-B5BB-7F611DBE69A9}"/>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E238D37-1659-4F42-82AD-0A5E955E6C8D}"/>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A9EE56F-7681-405E-99E5-058F34F929DD}"/>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4" name="Rectangle 23">
            <a:extLst>
              <a:ext uri="{FF2B5EF4-FFF2-40B4-BE49-F238E27FC236}">
                <a16:creationId xmlns:a16="http://schemas.microsoft.com/office/drawing/2014/main" id="{B0F330B5-6268-47B6-9D73-B8FE76EE7E0C}"/>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25" name="Rectangle 24">
            <a:extLst>
              <a:ext uri="{FF2B5EF4-FFF2-40B4-BE49-F238E27FC236}">
                <a16:creationId xmlns:a16="http://schemas.microsoft.com/office/drawing/2014/main" id="{99F88341-1918-42BF-99AA-E09800DAB49B}"/>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a:solidFill>
                  <a:srgbClr val="002776"/>
                </a:solidFill>
              </a:rPr>
              <a:t>Staffing &amp; retention plan status</a:t>
            </a:r>
          </a:p>
          <a:p>
            <a:pPr marL="169863" indent="-169863">
              <a:spcBef>
                <a:spcPts val="400"/>
              </a:spcBef>
              <a:spcAft>
                <a:spcPts val="400"/>
              </a:spcAft>
              <a:buFont typeface="+mj-lt"/>
              <a:buAutoNum type="arabicPeriod"/>
              <a:defRPr/>
            </a:pPr>
            <a:r>
              <a:rPr lang="en-US" sz="1200">
                <a:solidFill>
                  <a:srgbClr val="002776"/>
                </a:solidFill>
              </a:rPr>
              <a:t>Integration </a:t>
            </a:r>
            <a:r>
              <a:rPr lang="en-US" sz="1200" dirty="0">
                <a:solidFill>
                  <a:srgbClr val="002776"/>
                </a:solidFill>
              </a:rPr>
              <a:t>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0142811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5D314B-353E-4B75-97C2-723B22CA15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A85D314B-353E-4B75-97C2-723B22CA1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8F047F-9B29-4082-9156-B431E0D7580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latin typeface="+mn-lt"/>
              </a:rPr>
              <a:t>Need more help? Our ex-McKinsey, Deloitte &amp; BCG Consultants created 11 Business &amp; Consulting Toolkits</a:t>
            </a:r>
          </a:p>
        </p:txBody>
      </p:sp>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900" smtClean="0">
                <a:solidFill>
                  <a:srgbClr val="ADAFBB"/>
                </a:solidFill>
              </a:rPr>
              <a:pPr/>
              <a:t>57</a:t>
            </a:fld>
            <a:endParaRPr lang="en-US" sz="900" dirty="0">
              <a:solidFill>
                <a:srgbClr val="ADAFBB"/>
              </a:solidFill>
            </a:endParaRPr>
          </a:p>
        </p:txBody>
      </p:sp>
      <p:sp>
        <p:nvSpPr>
          <p:cNvPr id="44" name="Rectangle 43">
            <a:extLst>
              <a:ext uri="{FF2B5EF4-FFF2-40B4-BE49-F238E27FC236}">
                <a16:creationId xmlns:a16="http://schemas.microsoft.com/office/drawing/2014/main" id="{411193A8-7FDF-4516-9582-7F8223998366}"/>
              </a:ext>
            </a:extLst>
          </p:cNvPr>
          <p:cNvSpPr>
            <a:spLocks noChangeArrowheads="1"/>
          </p:cNvSpPr>
          <p:nvPr/>
        </p:nvSpPr>
        <p:spPr bwMode="auto">
          <a:xfrm>
            <a:off x="609048"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45" name="Rectangle 44">
            <a:extLst>
              <a:ext uri="{FF2B5EF4-FFF2-40B4-BE49-F238E27FC236}">
                <a16:creationId xmlns:a16="http://schemas.microsoft.com/office/drawing/2014/main" id="{F77BF668-13F9-4E2F-B2A0-A370A4533CBC}"/>
              </a:ext>
            </a:extLst>
          </p:cNvPr>
          <p:cNvSpPr>
            <a:spLocks noChangeArrowheads="1"/>
          </p:cNvSpPr>
          <p:nvPr/>
        </p:nvSpPr>
        <p:spPr bwMode="auto">
          <a:xfrm>
            <a:off x="245986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46" name="Rectangle 45">
            <a:extLst>
              <a:ext uri="{FF2B5EF4-FFF2-40B4-BE49-F238E27FC236}">
                <a16:creationId xmlns:a16="http://schemas.microsoft.com/office/drawing/2014/main" id="{8E933AF5-28A9-4624-8233-36924701A2D3}"/>
              </a:ext>
            </a:extLst>
          </p:cNvPr>
          <p:cNvSpPr>
            <a:spLocks noChangeArrowheads="1"/>
          </p:cNvSpPr>
          <p:nvPr/>
        </p:nvSpPr>
        <p:spPr bwMode="auto">
          <a:xfrm>
            <a:off x="4310684"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amp; Project Management Toolkit</a:t>
            </a:r>
          </a:p>
        </p:txBody>
      </p:sp>
      <p:sp>
        <p:nvSpPr>
          <p:cNvPr id="47" name="Rectangle 46">
            <a:extLst>
              <a:ext uri="{FF2B5EF4-FFF2-40B4-BE49-F238E27FC236}">
                <a16:creationId xmlns:a16="http://schemas.microsoft.com/office/drawing/2014/main" id="{514BD66A-7DFE-4DC0-BD92-3FE6154D10AE}"/>
              </a:ext>
            </a:extLst>
          </p:cNvPr>
          <p:cNvSpPr>
            <a:spLocks noChangeArrowheads="1"/>
          </p:cNvSpPr>
          <p:nvPr/>
        </p:nvSpPr>
        <p:spPr bwMode="auto">
          <a:xfrm>
            <a:off x="6161502"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Sales, Marketing &amp; Communication Toolkit</a:t>
            </a:r>
          </a:p>
        </p:txBody>
      </p:sp>
      <p:sp>
        <p:nvSpPr>
          <p:cNvPr id="48" name="Rectangle 47">
            <a:extLst>
              <a:ext uri="{FF2B5EF4-FFF2-40B4-BE49-F238E27FC236}">
                <a16:creationId xmlns:a16="http://schemas.microsoft.com/office/drawing/2014/main" id="{A74BC356-AD5C-4CE9-BA6C-95605462BF66}"/>
              </a:ext>
            </a:extLst>
          </p:cNvPr>
          <p:cNvSpPr>
            <a:spLocks noChangeArrowheads="1"/>
          </p:cNvSpPr>
          <p:nvPr/>
        </p:nvSpPr>
        <p:spPr bwMode="auto">
          <a:xfrm>
            <a:off x="8012320"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Financial Planning &amp; Analysis Toolkit</a:t>
            </a:r>
          </a:p>
        </p:txBody>
      </p:sp>
      <p:sp>
        <p:nvSpPr>
          <p:cNvPr id="49" name="Rectangle 48">
            <a:extLst>
              <a:ext uri="{FF2B5EF4-FFF2-40B4-BE49-F238E27FC236}">
                <a16:creationId xmlns:a16="http://schemas.microsoft.com/office/drawing/2014/main" id="{B43642D1-F386-4B4A-9CC3-A7E2404701A0}"/>
              </a:ext>
            </a:extLst>
          </p:cNvPr>
          <p:cNvSpPr>
            <a:spLocks noChangeArrowheads="1"/>
          </p:cNvSpPr>
          <p:nvPr/>
        </p:nvSpPr>
        <p:spPr bwMode="auto">
          <a:xfrm>
            <a:off x="610878"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rgbClr val="002060"/>
                </a:solidFill>
              </a:rPr>
              <a:t>7.Operations &amp; Supply Chain Toolkit</a:t>
            </a:r>
          </a:p>
        </p:txBody>
      </p:sp>
      <p:sp>
        <p:nvSpPr>
          <p:cNvPr id="50" name="Rectangle 49">
            <a:extLst>
              <a:ext uri="{FF2B5EF4-FFF2-40B4-BE49-F238E27FC236}">
                <a16:creationId xmlns:a16="http://schemas.microsoft.com/office/drawing/2014/main" id="{90107E7F-DBC3-49BD-8C62-6977301018C8}"/>
              </a:ext>
            </a:extLst>
          </p:cNvPr>
          <p:cNvSpPr>
            <a:spLocks noChangeArrowheads="1"/>
          </p:cNvSpPr>
          <p:nvPr/>
        </p:nvSpPr>
        <p:spPr bwMode="auto">
          <a:xfrm>
            <a:off x="2459819"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a:t>
            </a:r>
            <a:r>
              <a:rPr lang="en-GB" sz="1100" b="1" dirty="0">
                <a:solidFill>
                  <a:schemeClr val="tx2"/>
                </a:solidFill>
              </a:rPr>
              <a:t>Leadership &amp; Personal Development Toolkit</a:t>
            </a:r>
            <a:endParaRPr lang="en-US" sz="1100" b="1" dirty="0">
              <a:solidFill>
                <a:schemeClr val="tx2"/>
              </a:solidFill>
            </a:endParaRPr>
          </a:p>
        </p:txBody>
      </p:sp>
      <p:grpSp>
        <p:nvGrpSpPr>
          <p:cNvPr id="51" name="Group 50">
            <a:extLst>
              <a:ext uri="{FF2B5EF4-FFF2-40B4-BE49-F238E27FC236}">
                <a16:creationId xmlns:a16="http://schemas.microsoft.com/office/drawing/2014/main" id="{02FE18B2-1EE1-423B-AA56-2E1957D32FB5}"/>
              </a:ext>
            </a:extLst>
          </p:cNvPr>
          <p:cNvGrpSpPr/>
          <p:nvPr/>
        </p:nvGrpSpPr>
        <p:grpSpPr>
          <a:xfrm>
            <a:off x="1116792" y="5016302"/>
            <a:ext cx="716172" cy="757600"/>
            <a:chOff x="2751134" y="1557423"/>
            <a:chExt cx="3505191" cy="3707958"/>
          </a:xfrm>
          <a:solidFill>
            <a:schemeClr val="bg1"/>
          </a:solidFill>
        </p:grpSpPr>
        <p:sp>
          <p:nvSpPr>
            <p:cNvPr id="52" name="Shape 51">
              <a:extLst>
                <a:ext uri="{FF2B5EF4-FFF2-40B4-BE49-F238E27FC236}">
                  <a16:creationId xmlns:a16="http://schemas.microsoft.com/office/drawing/2014/main" id="{A9089008-9C7D-4F27-B5C6-2963DC2F91F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3" name="Shape 52">
              <a:extLst>
                <a:ext uri="{FF2B5EF4-FFF2-40B4-BE49-F238E27FC236}">
                  <a16:creationId xmlns:a16="http://schemas.microsoft.com/office/drawing/2014/main" id="{B147DE72-50B8-48DB-B186-598B890EFCE9}"/>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4" name="Shape 53">
              <a:extLst>
                <a:ext uri="{FF2B5EF4-FFF2-40B4-BE49-F238E27FC236}">
                  <a16:creationId xmlns:a16="http://schemas.microsoft.com/office/drawing/2014/main" id="{38BF031A-0995-476E-9844-C311FC972994}"/>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55" name="Graphic 54" descr="Bullseye">
            <a:extLst>
              <a:ext uri="{FF2B5EF4-FFF2-40B4-BE49-F238E27FC236}">
                <a16:creationId xmlns:a16="http://schemas.microsoft.com/office/drawing/2014/main" id="{A4FA445D-A84A-41ED-8E02-195CF8F8A8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1020" y="2349082"/>
            <a:ext cx="868964" cy="868963"/>
          </a:xfrm>
          <a:prstGeom prst="rect">
            <a:avLst/>
          </a:prstGeom>
        </p:spPr>
      </p:pic>
      <p:pic>
        <p:nvPicPr>
          <p:cNvPr id="56" name="Graphic 55" descr="Lightbulb and gear">
            <a:extLst>
              <a:ext uri="{FF2B5EF4-FFF2-40B4-BE49-F238E27FC236}">
                <a16:creationId xmlns:a16="http://schemas.microsoft.com/office/drawing/2014/main" id="{64ADD5FF-156B-4D9B-A8EF-89EB7E6D3F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8566" y="2349082"/>
            <a:ext cx="868964" cy="868963"/>
          </a:xfrm>
          <a:prstGeom prst="rect">
            <a:avLst/>
          </a:prstGeom>
        </p:spPr>
      </p:pic>
      <p:pic>
        <p:nvPicPr>
          <p:cNvPr id="57" name="Graphic 56" descr="Business Growth">
            <a:extLst>
              <a:ext uri="{FF2B5EF4-FFF2-40B4-BE49-F238E27FC236}">
                <a16:creationId xmlns:a16="http://schemas.microsoft.com/office/drawing/2014/main" id="{FB803174-AE02-400E-9C93-D03E8871230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40202" y="2349082"/>
            <a:ext cx="868964" cy="868963"/>
          </a:xfrm>
          <a:prstGeom prst="rect">
            <a:avLst/>
          </a:prstGeom>
        </p:spPr>
      </p:pic>
      <p:pic>
        <p:nvPicPr>
          <p:cNvPr id="58" name="Graphic 57" descr="Lecturer">
            <a:extLst>
              <a:ext uri="{FF2B5EF4-FFF2-40B4-BE49-F238E27FC236}">
                <a16:creationId xmlns:a16="http://schemas.microsoft.com/office/drawing/2014/main" id="{D4A6C9F0-BCEF-4AFF-9704-E4BF64DB0A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89337" y="4960621"/>
            <a:ext cx="868964" cy="868963"/>
          </a:xfrm>
          <a:prstGeom prst="rect">
            <a:avLst/>
          </a:prstGeom>
        </p:spPr>
      </p:pic>
      <p:sp>
        <p:nvSpPr>
          <p:cNvPr id="59" name="Rectangle: Rounded Corners 58">
            <a:hlinkClick r:id="rId14"/>
            <a:extLst>
              <a:ext uri="{FF2B5EF4-FFF2-40B4-BE49-F238E27FC236}">
                <a16:creationId xmlns:a16="http://schemas.microsoft.com/office/drawing/2014/main" id="{17CFC19B-CFD4-4FBA-8E77-47ED02F3E8D3}"/>
              </a:ext>
            </a:extLst>
          </p:cNvPr>
          <p:cNvSpPr/>
          <p:nvPr/>
        </p:nvSpPr>
        <p:spPr bwMode="auto">
          <a:xfrm>
            <a:off x="897048"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60" name="Rectangle: Rounded Corners 59">
            <a:hlinkClick r:id="rId15"/>
            <a:extLst>
              <a:ext uri="{FF2B5EF4-FFF2-40B4-BE49-F238E27FC236}">
                <a16:creationId xmlns:a16="http://schemas.microsoft.com/office/drawing/2014/main" id="{695C4FA9-2B8E-4FB8-93E0-7A02320B5483}"/>
              </a:ext>
            </a:extLst>
          </p:cNvPr>
          <p:cNvSpPr/>
          <p:nvPr/>
        </p:nvSpPr>
        <p:spPr bwMode="auto">
          <a:xfrm>
            <a:off x="274786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1" name="Rectangle: Rounded Corners 60">
            <a:hlinkClick r:id="rId16"/>
            <a:extLst>
              <a:ext uri="{FF2B5EF4-FFF2-40B4-BE49-F238E27FC236}">
                <a16:creationId xmlns:a16="http://schemas.microsoft.com/office/drawing/2014/main" id="{F4E5E171-5D7F-4FAF-93CF-CB62F4A1F2E9}"/>
              </a:ext>
            </a:extLst>
          </p:cNvPr>
          <p:cNvSpPr/>
          <p:nvPr/>
        </p:nvSpPr>
        <p:spPr bwMode="auto">
          <a:xfrm>
            <a:off x="4598684"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2" name="Rectangle: Rounded Corners 61">
            <a:hlinkClick r:id="rId17"/>
            <a:extLst>
              <a:ext uri="{FF2B5EF4-FFF2-40B4-BE49-F238E27FC236}">
                <a16:creationId xmlns:a16="http://schemas.microsoft.com/office/drawing/2014/main" id="{CD05CB2E-DBDA-4A1B-94E2-D867171F59FE}"/>
              </a:ext>
            </a:extLst>
          </p:cNvPr>
          <p:cNvSpPr/>
          <p:nvPr/>
        </p:nvSpPr>
        <p:spPr bwMode="auto">
          <a:xfrm>
            <a:off x="6449502"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3" name="Rectangle: Rounded Corners 62">
            <a:hlinkClick r:id="rId18"/>
            <a:extLst>
              <a:ext uri="{FF2B5EF4-FFF2-40B4-BE49-F238E27FC236}">
                <a16:creationId xmlns:a16="http://schemas.microsoft.com/office/drawing/2014/main" id="{470F2536-F17A-4FD5-86E3-1E1195927B69}"/>
              </a:ext>
            </a:extLst>
          </p:cNvPr>
          <p:cNvSpPr/>
          <p:nvPr/>
        </p:nvSpPr>
        <p:spPr bwMode="auto">
          <a:xfrm>
            <a:off x="8300320"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4" name="Rectangle: Rounded Corners 63">
            <a:hlinkClick r:id="rId19"/>
            <a:extLst>
              <a:ext uri="{FF2B5EF4-FFF2-40B4-BE49-F238E27FC236}">
                <a16:creationId xmlns:a16="http://schemas.microsoft.com/office/drawing/2014/main" id="{3E229F8E-1ADC-441D-9585-3A2C8AD31EE1}"/>
              </a:ext>
            </a:extLst>
          </p:cNvPr>
          <p:cNvSpPr/>
          <p:nvPr/>
        </p:nvSpPr>
        <p:spPr bwMode="auto">
          <a:xfrm>
            <a:off x="865278"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5" name="Rectangle: Rounded Corners 64">
            <a:hlinkClick r:id="rId20"/>
            <a:extLst>
              <a:ext uri="{FF2B5EF4-FFF2-40B4-BE49-F238E27FC236}">
                <a16:creationId xmlns:a16="http://schemas.microsoft.com/office/drawing/2014/main" id="{582A4E88-3E6E-4B57-9921-2E01D1CB84B1}"/>
              </a:ext>
            </a:extLst>
          </p:cNvPr>
          <p:cNvSpPr/>
          <p:nvPr/>
        </p:nvSpPr>
        <p:spPr bwMode="auto">
          <a:xfrm>
            <a:off x="2714219"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6" name="Graphic 65" descr="Playbook">
            <a:extLst>
              <a:ext uri="{FF2B5EF4-FFF2-40B4-BE49-F238E27FC236}">
                <a16:creationId xmlns:a16="http://schemas.microsoft.com/office/drawing/2014/main" id="{9A15547F-27C7-494F-9B37-6EB3ED04DB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866666" y="2332620"/>
            <a:ext cx="914400" cy="914400"/>
          </a:xfrm>
          <a:prstGeom prst="rect">
            <a:avLst/>
          </a:prstGeom>
        </p:spPr>
      </p:pic>
      <p:sp>
        <p:nvSpPr>
          <p:cNvPr id="67" name="Rectangle 66">
            <a:extLst>
              <a:ext uri="{FF2B5EF4-FFF2-40B4-BE49-F238E27FC236}">
                <a16:creationId xmlns:a16="http://schemas.microsoft.com/office/drawing/2014/main" id="{04C18065-77FD-459E-88D7-A7F468352973}"/>
              </a:ext>
            </a:extLst>
          </p:cNvPr>
          <p:cNvSpPr>
            <a:spLocks noChangeArrowheads="1"/>
          </p:cNvSpPr>
          <p:nvPr/>
        </p:nvSpPr>
        <p:spPr bwMode="auto">
          <a:xfrm>
            <a:off x="4308760"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Risk Management Toolkit</a:t>
            </a:r>
          </a:p>
        </p:txBody>
      </p:sp>
      <p:sp>
        <p:nvSpPr>
          <p:cNvPr id="68" name="Rectangle: Rounded Corners 67">
            <a:hlinkClick r:id="rId23"/>
            <a:extLst>
              <a:ext uri="{FF2B5EF4-FFF2-40B4-BE49-F238E27FC236}">
                <a16:creationId xmlns:a16="http://schemas.microsoft.com/office/drawing/2014/main" id="{5579B3EC-9EEB-4609-8D9D-F20B76F96151}"/>
              </a:ext>
            </a:extLst>
          </p:cNvPr>
          <p:cNvSpPr/>
          <p:nvPr/>
        </p:nvSpPr>
        <p:spPr bwMode="auto">
          <a:xfrm>
            <a:off x="4563160"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9" name="Graphic 68" descr="Shield Tick">
            <a:extLst>
              <a:ext uri="{FF2B5EF4-FFF2-40B4-BE49-F238E27FC236}">
                <a16:creationId xmlns:a16="http://schemas.microsoft.com/office/drawing/2014/main" id="{7D2EA8E4-AEED-45E4-851F-DDA0ED3FAD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6784" y="4946169"/>
            <a:ext cx="791953" cy="791953"/>
          </a:xfrm>
          <a:prstGeom prst="rect">
            <a:avLst/>
          </a:prstGeom>
        </p:spPr>
      </p:pic>
      <p:sp>
        <p:nvSpPr>
          <p:cNvPr id="70" name="Rectangle 69">
            <a:extLst>
              <a:ext uri="{FF2B5EF4-FFF2-40B4-BE49-F238E27FC236}">
                <a16:creationId xmlns:a16="http://schemas.microsoft.com/office/drawing/2014/main" id="{CB1C877D-16A2-4DB0-BED8-3B0FFFB64706}"/>
              </a:ext>
            </a:extLst>
          </p:cNvPr>
          <p:cNvSpPr>
            <a:spLocks noChangeArrowheads="1"/>
          </p:cNvSpPr>
          <p:nvPr/>
        </p:nvSpPr>
        <p:spPr bwMode="auto">
          <a:xfrm>
            <a:off x="6157701"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Mergers &amp; Acquisitions Toolkit</a:t>
            </a:r>
          </a:p>
        </p:txBody>
      </p:sp>
      <p:sp>
        <p:nvSpPr>
          <p:cNvPr id="71" name="Rectangle: Rounded Corners 70">
            <a:hlinkClick r:id="rId26"/>
            <a:extLst>
              <a:ext uri="{FF2B5EF4-FFF2-40B4-BE49-F238E27FC236}">
                <a16:creationId xmlns:a16="http://schemas.microsoft.com/office/drawing/2014/main" id="{08230361-6FC5-4337-BAC4-7E325C461DA8}"/>
              </a:ext>
            </a:extLst>
          </p:cNvPr>
          <p:cNvSpPr/>
          <p:nvPr/>
        </p:nvSpPr>
        <p:spPr bwMode="auto">
          <a:xfrm>
            <a:off x="6412101"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2" name="Graphic 71" descr="Puzzle pieces">
            <a:extLst>
              <a:ext uri="{FF2B5EF4-FFF2-40B4-BE49-F238E27FC236}">
                <a16:creationId xmlns:a16="http://schemas.microsoft.com/office/drawing/2014/main" id="{3E3C36E9-A83F-4982-AF48-F596BB1975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564501" y="4866411"/>
            <a:ext cx="914400" cy="914400"/>
          </a:xfrm>
          <a:prstGeom prst="rect">
            <a:avLst/>
          </a:prstGeom>
        </p:spPr>
      </p:pic>
      <p:pic>
        <p:nvPicPr>
          <p:cNvPr id="73" name="Graphic 72" descr="Money">
            <a:extLst>
              <a:ext uri="{FF2B5EF4-FFF2-40B4-BE49-F238E27FC236}">
                <a16:creationId xmlns:a16="http://schemas.microsoft.com/office/drawing/2014/main" id="{E75442E2-71E9-44FC-A238-51195747C8B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419120" y="2273652"/>
            <a:ext cx="914400" cy="914400"/>
          </a:xfrm>
          <a:prstGeom prst="rect">
            <a:avLst/>
          </a:prstGeom>
        </p:spPr>
      </p:pic>
      <p:sp>
        <p:nvSpPr>
          <p:cNvPr id="74" name="Rectangle 73">
            <a:extLst>
              <a:ext uri="{FF2B5EF4-FFF2-40B4-BE49-F238E27FC236}">
                <a16:creationId xmlns:a16="http://schemas.microsoft.com/office/drawing/2014/main" id="{EBD37F0A-29E0-4969-B5EC-4141D2BB6320}"/>
              </a:ext>
            </a:extLst>
          </p:cNvPr>
          <p:cNvSpPr>
            <a:spLocks noChangeArrowheads="1"/>
          </p:cNvSpPr>
          <p:nvPr/>
        </p:nvSpPr>
        <p:spPr bwMode="auto">
          <a:xfrm>
            <a:off x="986313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Digital Transformation Toolkit</a:t>
            </a:r>
          </a:p>
        </p:txBody>
      </p:sp>
      <p:sp>
        <p:nvSpPr>
          <p:cNvPr id="75" name="Rectangle 74">
            <a:extLst>
              <a:ext uri="{FF2B5EF4-FFF2-40B4-BE49-F238E27FC236}">
                <a16:creationId xmlns:a16="http://schemas.microsoft.com/office/drawing/2014/main" id="{C4AA2ACA-39B4-442C-B099-063BDA1B897F}"/>
              </a:ext>
            </a:extLst>
          </p:cNvPr>
          <p:cNvSpPr>
            <a:spLocks noChangeArrowheads="1"/>
          </p:cNvSpPr>
          <p:nvPr/>
        </p:nvSpPr>
        <p:spPr bwMode="auto">
          <a:xfrm>
            <a:off x="986313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fontScale="92500" lnSpcReduction="10000"/>
          </a:bodyPr>
          <a:lstStyle/>
          <a:p>
            <a:pPr algn="ctr"/>
            <a:r>
              <a:rPr lang="en-US" sz="1100" b="1" dirty="0">
                <a:solidFill>
                  <a:schemeClr val="tx2"/>
                </a:solidFill>
              </a:rPr>
              <a:t>More Toolkits will be created in the coming months. </a:t>
            </a: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r>
              <a:rPr lang="en-US" sz="1100" b="1" dirty="0">
                <a:solidFill>
                  <a:schemeClr val="tx2"/>
                </a:solidFill>
              </a:rPr>
              <a:t>If you want us to create a specific Toolkit, send us an email at sales@slidebooks.com</a:t>
            </a:r>
          </a:p>
        </p:txBody>
      </p:sp>
      <p:sp>
        <p:nvSpPr>
          <p:cNvPr id="76" name="Rectangle: Rounded Corners 75">
            <a:hlinkClick r:id="rId31"/>
            <a:extLst>
              <a:ext uri="{FF2B5EF4-FFF2-40B4-BE49-F238E27FC236}">
                <a16:creationId xmlns:a16="http://schemas.microsoft.com/office/drawing/2014/main" id="{C7E64FD9-D958-4425-99D6-C3E50B606C24}"/>
              </a:ext>
            </a:extLst>
          </p:cNvPr>
          <p:cNvSpPr/>
          <p:nvPr/>
        </p:nvSpPr>
        <p:spPr bwMode="auto">
          <a:xfrm>
            <a:off x="1015113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7" name="Graphic 76" descr="Stream">
            <a:extLst>
              <a:ext uri="{FF2B5EF4-FFF2-40B4-BE49-F238E27FC236}">
                <a16:creationId xmlns:a16="http://schemas.microsoft.com/office/drawing/2014/main" id="{8008FDF0-7F97-4342-A1DE-7763174709E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76123" y="2273652"/>
            <a:ext cx="902026" cy="902026"/>
          </a:xfrm>
          <a:prstGeom prst="rect">
            <a:avLst/>
          </a:prstGeom>
        </p:spPr>
      </p:pic>
      <p:sp>
        <p:nvSpPr>
          <p:cNvPr id="78" name="Rectangle 77">
            <a:extLst>
              <a:ext uri="{FF2B5EF4-FFF2-40B4-BE49-F238E27FC236}">
                <a16:creationId xmlns:a16="http://schemas.microsoft.com/office/drawing/2014/main" id="{AFA816E6-1329-4FC9-8CAA-8F49CFA1DFBC}"/>
              </a:ext>
            </a:extLst>
          </p:cNvPr>
          <p:cNvSpPr>
            <a:spLocks noChangeArrowheads="1"/>
          </p:cNvSpPr>
          <p:nvPr/>
        </p:nvSpPr>
        <p:spPr bwMode="auto">
          <a:xfrm>
            <a:off x="801071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1.Entrepreneurship Toolkit</a:t>
            </a:r>
          </a:p>
        </p:txBody>
      </p:sp>
      <p:sp>
        <p:nvSpPr>
          <p:cNvPr id="79" name="Rectangle: Rounded Corners 78">
            <a:hlinkClick r:id="rId34"/>
            <a:extLst>
              <a:ext uri="{FF2B5EF4-FFF2-40B4-BE49-F238E27FC236}">
                <a16:creationId xmlns:a16="http://schemas.microsoft.com/office/drawing/2014/main" id="{ACC84311-B402-461E-AAFC-27D36981BAB2}"/>
              </a:ext>
            </a:extLst>
          </p:cNvPr>
          <p:cNvSpPr/>
          <p:nvPr/>
        </p:nvSpPr>
        <p:spPr bwMode="auto">
          <a:xfrm>
            <a:off x="8265116"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80" name="Graphic 79" descr="Badge Follow">
            <a:extLst>
              <a:ext uri="{FF2B5EF4-FFF2-40B4-BE49-F238E27FC236}">
                <a16:creationId xmlns:a16="http://schemas.microsoft.com/office/drawing/2014/main" id="{39C7C8E8-3819-4704-9576-38320744029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418961" y="4951337"/>
            <a:ext cx="616350" cy="616350"/>
          </a:xfrm>
          <a:prstGeom prst="rect">
            <a:avLst/>
          </a:prstGeom>
        </p:spPr>
      </p:pic>
      <p:pic>
        <p:nvPicPr>
          <p:cNvPr id="81" name="Graphic 80" descr="Plant">
            <a:extLst>
              <a:ext uri="{FF2B5EF4-FFF2-40B4-BE49-F238E27FC236}">
                <a16:creationId xmlns:a16="http://schemas.microsoft.com/office/drawing/2014/main" id="{E1A1A112-7EBD-45B0-8611-7A7D55304913}"/>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41527" y="4951009"/>
            <a:ext cx="800164" cy="800164"/>
          </a:xfrm>
          <a:prstGeom prst="rect">
            <a:avLst/>
          </a:prstGeom>
        </p:spPr>
      </p:pic>
    </p:spTree>
    <p:extLst>
      <p:ext uri="{BB962C8B-B14F-4D97-AF65-F5344CB8AC3E}">
        <p14:creationId xmlns:p14="http://schemas.microsoft.com/office/powerpoint/2010/main" val="32742126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than 1 Toolkit? You can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9"/>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0"/>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1"/>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2"/>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900" smtClean="0">
                <a:solidFill>
                  <a:srgbClr val="ADAFBB"/>
                </a:solidFill>
              </a:rPr>
              <a:pPr/>
              <a:t>58</a:t>
            </a:fld>
            <a:endParaRPr lang="en-US" sz="900" dirty="0">
              <a:solidFill>
                <a:srgbClr val="ADAFBB"/>
              </a:solidFill>
            </a:endParaRPr>
          </a:p>
        </p:txBody>
      </p:sp>
    </p:spTree>
    <p:extLst>
      <p:ext uri="{BB962C8B-B14F-4D97-AF65-F5344CB8AC3E}">
        <p14:creationId xmlns:p14="http://schemas.microsoft.com/office/powerpoint/2010/main" val="40570548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9</a:t>
            </a:fld>
            <a:endParaRPr lang="en-US" sz="1000" dirty="0">
              <a:solidFill>
                <a:srgbClr val="ADAFBB"/>
              </a:solidFill>
            </a:endParaRPr>
          </a:p>
        </p:txBody>
      </p:sp>
    </p:spTree>
    <p:extLst>
      <p:ext uri="{BB962C8B-B14F-4D97-AF65-F5344CB8AC3E}">
        <p14:creationId xmlns:p14="http://schemas.microsoft.com/office/powerpoint/2010/main" val="128972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1165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post merger integration guiding principl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21" name="Rectangle 20">
            <a:extLst>
              <a:ext uri="{FF2B5EF4-FFF2-40B4-BE49-F238E27FC236}">
                <a16:creationId xmlns:a16="http://schemas.microsoft.com/office/drawing/2014/main" id="{11C22A44-2FD5-46A7-A30E-F5F79C9EAFA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EE78CAB5-920F-4474-9507-223D946A101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3" name="Rectangle 22">
            <a:extLst>
              <a:ext uri="{FF2B5EF4-FFF2-40B4-BE49-F238E27FC236}">
                <a16:creationId xmlns:a16="http://schemas.microsoft.com/office/drawing/2014/main" id="{74E50F0A-59F3-4101-A004-5664A1AAF7E8}"/>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E8E79278-3E47-491E-80C4-2745363AB20D}"/>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4" name="Rectangle 33">
            <a:extLst>
              <a:ext uri="{FF2B5EF4-FFF2-40B4-BE49-F238E27FC236}">
                <a16:creationId xmlns:a16="http://schemas.microsoft.com/office/drawing/2014/main" id="{8E5C4676-310D-4A07-8359-C78BAE8BAEE2}"/>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AE266B61-A26F-4864-A119-B73D8D3EEFE3}"/>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6" name="Rectangle 35">
            <a:extLst>
              <a:ext uri="{FF2B5EF4-FFF2-40B4-BE49-F238E27FC236}">
                <a16:creationId xmlns:a16="http://schemas.microsoft.com/office/drawing/2014/main" id="{347DF893-08CF-4A42-82A7-151682669AE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473EDCDD-9075-40AB-A47F-8FF455A2E444}"/>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8" name="Rectangle 37">
            <a:extLst>
              <a:ext uri="{FF2B5EF4-FFF2-40B4-BE49-F238E27FC236}">
                <a16:creationId xmlns:a16="http://schemas.microsoft.com/office/drawing/2014/main" id="{E4C80A43-3460-447B-A4B7-C97F19954BE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39" name="Rectangle 38">
            <a:extLst>
              <a:ext uri="{FF2B5EF4-FFF2-40B4-BE49-F238E27FC236}">
                <a16:creationId xmlns:a16="http://schemas.microsoft.com/office/drawing/2014/main" id="{25B98639-8371-4BB9-9FA0-6591943AEA62}"/>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0" name="Rectangle 39">
            <a:extLst>
              <a:ext uri="{FF2B5EF4-FFF2-40B4-BE49-F238E27FC236}">
                <a16:creationId xmlns:a16="http://schemas.microsoft.com/office/drawing/2014/main" id="{D16ABD8B-61B2-4AE4-A271-20712EAC6EE5}"/>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1" name="Rectangle 40">
            <a:extLst>
              <a:ext uri="{FF2B5EF4-FFF2-40B4-BE49-F238E27FC236}">
                <a16:creationId xmlns:a16="http://schemas.microsoft.com/office/drawing/2014/main" id="{60047BC4-494E-465F-BB2C-37A58D27A895}"/>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2" name="Rectangle 41">
            <a:extLst>
              <a:ext uri="{FF2B5EF4-FFF2-40B4-BE49-F238E27FC236}">
                <a16:creationId xmlns:a16="http://schemas.microsoft.com/office/drawing/2014/main" id="{EEFEF7C6-2458-41A3-A611-F735F23959C8}"/>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43" name="Rectangle 42">
            <a:extLst>
              <a:ext uri="{FF2B5EF4-FFF2-40B4-BE49-F238E27FC236}">
                <a16:creationId xmlns:a16="http://schemas.microsoft.com/office/drawing/2014/main" id="{067232F5-DCB9-418C-AF5E-20A9ADF37A95}"/>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4" name="Rectangle 43">
            <a:extLst>
              <a:ext uri="{FF2B5EF4-FFF2-40B4-BE49-F238E27FC236}">
                <a16:creationId xmlns:a16="http://schemas.microsoft.com/office/drawing/2014/main" id="{249D5A4D-C375-446B-876D-B421B4AA27A2}"/>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5" name="Rectangle 44">
            <a:extLst>
              <a:ext uri="{FF2B5EF4-FFF2-40B4-BE49-F238E27FC236}">
                <a16:creationId xmlns:a16="http://schemas.microsoft.com/office/drawing/2014/main" id="{3C667C76-9848-4E10-980B-6994068638EA}"/>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Tree>
    <p:extLst>
      <p:ext uri="{BB962C8B-B14F-4D97-AF65-F5344CB8AC3E}">
        <p14:creationId xmlns:p14="http://schemas.microsoft.com/office/powerpoint/2010/main" val="784211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611418"/>
            <a:ext cx="3474136" cy="25436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4</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755439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ur High-Level Plan mirrors all the steps included in our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5" name="Title 1">
            <a:extLst>
              <a:ext uri="{FF2B5EF4-FFF2-40B4-BE49-F238E27FC236}">
                <a16:creationId xmlns:a16="http://schemas.microsoft.com/office/drawing/2014/main" id="{F53DB822-D6F4-4387-B810-2DDF193FB7A3}"/>
              </a:ext>
            </a:extLst>
          </p:cNvPr>
          <p:cNvSpPr txBox="1">
            <a:spLocks/>
          </p:cNvSpPr>
          <p:nvPr/>
        </p:nvSpPr>
        <p:spPr>
          <a:xfrm>
            <a:off x="514350" y="1626020"/>
            <a:ext cx="10314276" cy="3416320"/>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latin typeface="+mn-lt"/>
              </a:rPr>
              <a:t>Our high-level plan includes:</a:t>
            </a:r>
          </a:p>
          <a:p>
            <a:pPr marL="285750" indent="-285750">
              <a:buFont typeface="Arial" panose="020B0604020202020204" pitchFamily="34" charset="0"/>
              <a:buChar char="•"/>
            </a:pPr>
            <a:r>
              <a:rPr lang="en-US" sz="1800" b="0" kern="0" dirty="0">
                <a:latin typeface="+mn-lt"/>
              </a:rPr>
              <a:t>Phases</a:t>
            </a:r>
          </a:p>
          <a:p>
            <a:pPr marL="285750" indent="-285750">
              <a:buFont typeface="Arial" panose="020B0604020202020204" pitchFamily="34" charset="0"/>
              <a:buChar char="•"/>
            </a:pPr>
            <a:r>
              <a:rPr lang="en-US" sz="1800" b="0" kern="0" dirty="0">
                <a:latin typeface="+mn-lt"/>
              </a:rPr>
              <a:t>Steps</a:t>
            </a:r>
          </a:p>
          <a:p>
            <a:pPr marL="285750" indent="-285750">
              <a:buFont typeface="Arial" panose="020B0604020202020204" pitchFamily="34" charset="0"/>
              <a:buChar char="•"/>
            </a:pPr>
            <a:r>
              <a:rPr lang="en-US" sz="1800" b="0" kern="0" dirty="0">
                <a:latin typeface="+mn-lt"/>
              </a:rPr>
              <a:t>Owners</a:t>
            </a:r>
          </a:p>
          <a:p>
            <a:pPr marL="285750" indent="-285750">
              <a:buFont typeface="Arial" panose="020B0604020202020204" pitchFamily="34" charset="0"/>
              <a:buChar char="•"/>
            </a:pPr>
            <a:r>
              <a:rPr lang="en-US" sz="1800" b="0" kern="0" dirty="0">
                <a:latin typeface="+mn-lt"/>
              </a:rPr>
              <a:t>Due dates</a:t>
            </a:r>
          </a:p>
          <a:p>
            <a:pPr marL="285750" indent="-285750">
              <a:buFont typeface="Arial" panose="020B0604020202020204" pitchFamily="34" charset="0"/>
              <a:buChar char="•"/>
            </a:pPr>
            <a:r>
              <a:rPr lang="en-US" sz="1800" b="0" kern="0" dirty="0">
                <a:latin typeface="+mn-lt"/>
              </a:rPr>
              <a:t>Statuses</a:t>
            </a:r>
          </a:p>
          <a:p>
            <a:pPr marL="285750" indent="-285750">
              <a:buFont typeface="Arial" panose="020B0604020202020204" pitchFamily="34" charset="0"/>
              <a:buChar char="•"/>
            </a:pPr>
            <a:r>
              <a:rPr lang="en-US" sz="1800" b="0" kern="0" dirty="0">
                <a:latin typeface="+mn-lt"/>
              </a:rPr>
              <a:t>Timeframes</a:t>
            </a:r>
          </a:p>
          <a:p>
            <a:endParaRPr lang="en-US" sz="1800" b="0" kern="0" dirty="0">
              <a:latin typeface="+mn-lt"/>
            </a:endParaRPr>
          </a:p>
          <a:p>
            <a:r>
              <a:rPr lang="en-US" sz="1800" b="0" kern="0" dirty="0">
                <a:latin typeface="+mn-lt"/>
              </a:rPr>
              <a:t>You’ll see in the next slides our high-level plan in Powerpoint. We also created a more practical version of our High-Level Plan in the Excel document called “High-Level Plan”, located in the folder “</a:t>
            </a:r>
            <a:r>
              <a:rPr lang="en-GB" sz="1800" b="0" kern="0" dirty="0">
                <a:latin typeface="+mn-lt"/>
              </a:rPr>
              <a:t>Phase I - Strategy and High-Level Plan”.</a:t>
            </a:r>
            <a:endParaRPr lang="en-US" sz="1800" b="0" kern="0" dirty="0">
              <a:latin typeface="+mn-lt"/>
            </a:endParaRPr>
          </a:p>
          <a:p>
            <a:endParaRPr lang="en-US" sz="1800" kern="0" dirty="0">
              <a:latin typeface="+mn-lt"/>
            </a:endParaRPr>
          </a:p>
        </p:txBody>
      </p:sp>
    </p:spTree>
    <p:extLst>
      <p:ext uri="{BB962C8B-B14F-4D97-AF65-F5344CB8AC3E}">
        <p14:creationId xmlns:p14="http://schemas.microsoft.com/office/powerpoint/2010/main" val="3025566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1</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387798922"/>
              </p:ext>
            </p:extLst>
          </p:nvPr>
        </p:nvGraphicFramePr>
        <p:xfrm>
          <a:off x="604837" y="1905000"/>
          <a:ext cx="10982323" cy="4468797"/>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fine &amp; communicate the Strategy &amp; High-Level Plan</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Don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Merger strategic objec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a:solidFill>
                            <a:srgbClr val="002060"/>
                          </a:solidFill>
                          <a:effectLst/>
                          <a:latin typeface="Arial" panose="020B0604020202020204" pitchFamily="34" charset="0"/>
                        </a:rPr>
                        <a:t>Integration management offic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Guiding principl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GB" sz="900" b="0" i="0" u="none" strike="noStrike">
                          <a:solidFill>
                            <a:srgbClr val="002060"/>
                          </a:solidFill>
                          <a:effectLst/>
                          <a:latin typeface="Arial" panose="020B0604020202020204" pitchFamily="34" charset="0"/>
                        </a:rPr>
                        <a:t>Post merger integration high-level pla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Organizational structure (Top layer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AU" sz="900" b="0" i="0" u="none" strike="noStrike">
                          <a:solidFill>
                            <a:srgbClr val="002060"/>
                          </a:solidFill>
                          <a:effectLst/>
                          <a:latin typeface="Arial" panose="020B0604020202020204" pitchFamily="34" charset="0"/>
                        </a:rPr>
                        <a:t>Top management appointment</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Training to help managers set up their team</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n Track</a:t>
                      </a:r>
                      <a:endPar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Integrated synergy baselin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a:solidFill>
                            <a:srgbClr val="002060"/>
                          </a:solidFill>
                          <a:effectLst/>
                          <a:latin typeface="Arial" panose="020B0604020202020204" pitchFamily="34" charset="0"/>
                        </a:rPr>
                        <a:t>Synergy targets </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5875316"/>
                  </a:ext>
                </a:extLst>
              </a:tr>
              <a:tr h="312241">
                <a:tc>
                  <a:txBody>
                    <a:bodyPr/>
                    <a:lstStyle/>
                    <a:p>
                      <a:pPr algn="l" fontAlgn="b"/>
                      <a:r>
                        <a:rPr lang="en-AU" sz="900" b="0" i="0" u="none" strike="noStrike" dirty="0">
                          <a:solidFill>
                            <a:srgbClr val="002060"/>
                          </a:solidFill>
                          <a:effectLst/>
                          <a:latin typeface="Arial" panose="020B0604020202020204" pitchFamily="34" charset="0"/>
                        </a:rPr>
                        <a:t>Potential integration &amp; synergy initia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4989025"/>
                  </a:ext>
                </a:extLst>
              </a:tr>
              <a:tr h="312241">
                <a:tc>
                  <a:txBody>
                    <a:bodyPr/>
                    <a:lstStyle/>
                    <a:p>
                      <a:pPr algn="l" fontAlgn="b"/>
                      <a:r>
                        <a:rPr lang="en-GB" sz="900" b="0" i="0" u="none" strike="noStrike" dirty="0">
                          <a:solidFill>
                            <a:srgbClr val="002060"/>
                          </a:solidFill>
                          <a:effectLst/>
                          <a:latin typeface="Arial" panose="020B0604020202020204" pitchFamily="34" charset="0"/>
                        </a:rPr>
                        <a:t>Business cases and financial model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39607676"/>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rioritizatio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2755152"/>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417169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dRYjCxWAjH7i9_56Dpw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17</TotalTime>
  <Words>5877</Words>
  <Application>Microsoft Office PowerPoint</Application>
  <PresentationFormat>Widescreen</PresentationFormat>
  <Paragraphs>1317</Paragraphs>
  <Slides>59</Slides>
  <Notes>53</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59</vt:i4>
      </vt:variant>
    </vt:vector>
  </HeadingPairs>
  <TitlesOfParts>
    <vt:vector size="73"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ost Merger Integration Strategy and High-Level Plan</vt:lpstr>
      <vt:lpstr>This deliverable will zoom on the phase I of the Post Merger Integration (PMI) 3-Phase Approach</vt:lpstr>
      <vt:lpstr>Let’s zoom on the steps 1, 2 and 3</vt:lpstr>
      <vt:lpstr>Our merger strategic objectives are:</vt:lpstr>
      <vt:lpstr>We decided to create an Integration Management Office that will be responsible for the success of the integration</vt:lpstr>
      <vt:lpstr>We identified 8 [insert your own number] post merger integration guiding principles</vt:lpstr>
      <vt:lpstr>Let’s zoom on the step 4</vt:lpstr>
      <vt:lpstr>Our High-Level Plan mirrors all the steps included in our 3-phase approach</vt:lpstr>
      <vt:lpstr>High-Level Plan – Phase 1</vt:lpstr>
      <vt:lpstr>High-Level Plan – Phase 2</vt:lpstr>
      <vt:lpstr>High-Level Plan – Phase 3</vt:lpstr>
      <vt:lpstr>Let’s zoom on the steps 5 and 6</vt:lpstr>
      <vt:lpstr>Current organizational structure (Top layers)</vt:lpstr>
      <vt:lpstr>Target organizational structure (Top layers)</vt:lpstr>
      <vt:lpstr>Top management appointment</vt:lpstr>
      <vt:lpstr>Let’s zoom on the step 7</vt:lpstr>
      <vt:lpstr>In the next slides, you will find a small training that you can reuse to help managers set their new teams up for success…</vt:lpstr>
      <vt:lpstr>Training setting up your new team</vt:lpstr>
      <vt:lpstr>Understanding people’s rational thinking and emotions</vt:lpstr>
      <vt:lpstr>Understanding people’s reaction to change</vt:lpstr>
      <vt:lpstr>Understanding the impact of change on  your team members</vt:lpstr>
      <vt:lpstr>Forming a team taking into account of the 4 stages of team development</vt:lpstr>
      <vt:lpstr>Let’s zoom on the step 8</vt:lpstr>
      <vt:lpstr>There are 2 types of synergy: Cost synergy and Revenue synergy</vt:lpstr>
      <vt:lpstr>We believe it is very important to create an integrated synergy baseline, which consolidates data from 4 major areas</vt:lpstr>
      <vt:lpstr>The main Market data that we will use are:</vt:lpstr>
      <vt:lpstr>The main Financial data are:</vt:lpstr>
      <vt:lpstr>The main operational data are:</vt:lpstr>
      <vt:lpstr>The main People data are:</vt:lpstr>
      <vt:lpstr>Let’s zoom on the step 9</vt:lpstr>
      <vt:lpstr>It is very important to be as clear as possible on the synergy targets we need to reach</vt:lpstr>
      <vt:lpstr>Our synergy target is $140M [insert your own number] over the next 2 years</vt:lpstr>
      <vt:lpstr>Breakdown of our synergy target per function</vt:lpstr>
      <vt:lpstr>Let’s zoom on the step 10</vt:lpstr>
      <vt:lpstr>There are 2 types of integration &amp; synergy initiatives</vt:lpstr>
      <vt:lpstr>There are 2 types of integration &amp; synergy initiatives</vt:lpstr>
      <vt:lpstr>We believe that the most common functions where synergies can be achieved are:</vt:lpstr>
      <vt:lpstr>Zoom on Information Technology (IT)</vt:lpstr>
      <vt:lpstr>Zoom on Research &amp; Development (R&amp;D)</vt:lpstr>
      <vt:lpstr>Zoom on Procurement</vt:lpstr>
      <vt:lpstr>Zoom on Production</vt:lpstr>
      <vt:lpstr>Zoom on Sales &amp; Marketing</vt:lpstr>
      <vt:lpstr>See below a list of our potential integration &amp; synergy initiatives</vt:lpstr>
      <vt:lpstr>Let’s zoom on the step 11</vt:lpstr>
      <vt:lpstr>To be able to prioritize our initiatives, a business case has been created for each initiative</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t’s zoom on the step 12</vt:lpstr>
      <vt:lpstr>We used the following prioritization matrix in order to prioritize all our potential integration &amp; synergy initiatives</vt:lpstr>
      <vt:lpstr>The focus should be on the initiatives that have the greatest impact and require the lowest effort</vt:lpstr>
      <vt:lpstr>Prioritization of the initiatives facilitating the integration</vt:lpstr>
      <vt:lpstr>Prioritization of the initiatives capturing synergy </vt:lpstr>
      <vt:lpstr>Time now to focus on the Phase II, located in the folder “Phase II - Develop and Communicate the Detailed Plans”</vt:lpstr>
      <vt:lpstr>Need more help? Our ex-McKinsey, Deloitte &amp; BCG Consultants created 11 Business &amp; Consulting Toolkits</vt:lpstr>
      <vt:lpstr>Interested in more than 1 Toolkit? You can access to all our Toolkits for half the price with the Gold Business &amp; Consulting Package</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1-07-14T05:52: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